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13" r:id="rId5"/>
  </p:sldMasterIdLst>
  <p:notesMasterIdLst>
    <p:notesMasterId r:id="rId26"/>
  </p:notesMasterIdLst>
  <p:sldIdLst>
    <p:sldId id="262" r:id="rId6"/>
    <p:sldId id="2147139263" r:id="rId7"/>
    <p:sldId id="267" r:id="rId8"/>
    <p:sldId id="353" r:id="rId9"/>
    <p:sldId id="2147139204" r:id="rId10"/>
    <p:sldId id="2147139261" r:id="rId11"/>
    <p:sldId id="2147139209" r:id="rId12"/>
    <p:sldId id="2147139199" r:id="rId13"/>
    <p:sldId id="2147139256" r:id="rId14"/>
    <p:sldId id="2147139260" r:id="rId15"/>
    <p:sldId id="2147139264" r:id="rId16"/>
    <p:sldId id="2147139249" r:id="rId17"/>
    <p:sldId id="315" r:id="rId18"/>
    <p:sldId id="2147139257" r:id="rId19"/>
    <p:sldId id="2147139259" r:id="rId20"/>
    <p:sldId id="258" r:id="rId21"/>
    <p:sldId id="296" r:id="rId22"/>
    <p:sldId id="2147139262" r:id="rId23"/>
    <p:sldId id="2147139213" r:id="rId24"/>
    <p:sldId id="2147139201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B45B5F1-1067-0F96-0750-141A93894F89}" name="LITTLER, Katherine" initials="LK" userId="S::littlerk@who.int::1e24fc1a-a9e0-4a05-b3b8-ad1f78672bd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ANG, Wei" initials="ZW" lastIdx="1" clrIdx="0">
    <p:extLst>
      <p:ext uri="{19B8F6BF-5375-455C-9EA6-DF929625EA0E}">
        <p15:presenceInfo xmlns:p15="http://schemas.microsoft.com/office/powerpoint/2012/main" userId="ZHANG, We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914A93-D8D6-4DFE-928A-9824FEFD5A5F}" v="22" dt="2024-04-05T11:57:15.179"/>
    <p1510:client id="{477C7B60-1A00-4538-824B-FE7FC2783D57}" v="2" dt="2024-04-05T12:20:17.16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4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444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FA995A7-7598-4D47-BFDC-12CDCEDB0E9D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FB77F0E-028E-4C9E-AAF2-D12931077461}">
      <dgm:prSet phldrT="[Text]"/>
      <dgm:spPr/>
      <dgm:t>
        <a:bodyPr/>
        <a:lstStyle/>
        <a:p>
          <a:r>
            <a:rPr lang="en-US" dirty="0"/>
            <a:t>Designing and Conducting the research</a:t>
          </a:r>
        </a:p>
      </dgm:t>
    </dgm:pt>
    <dgm:pt modelId="{CA3DD704-ACF7-497F-8292-5CBF159900DB}" type="parTrans" cxnId="{8C1E555D-37A7-4482-BBE8-77AFF7EF75FE}">
      <dgm:prSet/>
      <dgm:spPr/>
      <dgm:t>
        <a:bodyPr/>
        <a:lstStyle/>
        <a:p>
          <a:endParaRPr lang="en-US"/>
        </a:p>
      </dgm:t>
    </dgm:pt>
    <dgm:pt modelId="{B65F1D39-B12E-4EA5-9310-784494DDBB94}" type="sibTrans" cxnId="{8C1E555D-37A7-4482-BBE8-77AFF7EF75FE}">
      <dgm:prSet/>
      <dgm:spPr/>
      <dgm:t>
        <a:bodyPr/>
        <a:lstStyle/>
        <a:p>
          <a:endParaRPr lang="en-US"/>
        </a:p>
      </dgm:t>
    </dgm:pt>
    <dgm:pt modelId="{5E153371-8104-43D8-9B3C-229FC00E61AF}">
      <dgm:prSet phldrT="[Text]"/>
      <dgm:spPr/>
      <dgm:t>
        <a:bodyPr/>
        <a:lstStyle/>
        <a:p>
          <a:r>
            <a:rPr lang="en-US" dirty="0"/>
            <a:t>Reporting results and sharing data</a:t>
          </a:r>
        </a:p>
      </dgm:t>
    </dgm:pt>
    <dgm:pt modelId="{45890F76-78A5-4CD5-94BD-3C50CB0DF1AD}" type="parTrans" cxnId="{7CDCDD0D-702B-429F-8B8D-67974DFCDC7F}">
      <dgm:prSet/>
      <dgm:spPr/>
      <dgm:t>
        <a:bodyPr/>
        <a:lstStyle/>
        <a:p>
          <a:endParaRPr lang="en-US"/>
        </a:p>
      </dgm:t>
    </dgm:pt>
    <dgm:pt modelId="{93476317-A5AB-46C3-95C8-46D7A245A552}" type="sibTrans" cxnId="{7CDCDD0D-702B-429F-8B8D-67974DFCDC7F}">
      <dgm:prSet/>
      <dgm:spPr/>
      <dgm:t>
        <a:bodyPr/>
        <a:lstStyle/>
        <a:p>
          <a:endParaRPr lang="en-US"/>
        </a:p>
      </dgm:t>
    </dgm:pt>
    <dgm:pt modelId="{F6AC1836-EE3E-4960-B600-706348439F1A}">
      <dgm:prSet phldrT="[Text]"/>
      <dgm:spPr/>
      <dgm:t>
        <a:bodyPr/>
        <a:lstStyle/>
        <a:p>
          <a:r>
            <a:rPr lang="en-US" dirty="0"/>
            <a:t>Evidence synthesis and Policymaking</a:t>
          </a:r>
        </a:p>
      </dgm:t>
    </dgm:pt>
    <dgm:pt modelId="{29BABEB8-93EA-4C87-AD48-BDB9AA3BCF1A}" type="parTrans" cxnId="{2C1FCF64-9C58-4D4B-B36E-1ED7E6E52FE6}">
      <dgm:prSet/>
      <dgm:spPr/>
      <dgm:t>
        <a:bodyPr/>
        <a:lstStyle/>
        <a:p>
          <a:endParaRPr lang="en-US"/>
        </a:p>
      </dgm:t>
    </dgm:pt>
    <dgm:pt modelId="{9AA8AF91-93BD-48AA-A4D2-3A539BA87ABB}" type="sibTrans" cxnId="{2C1FCF64-9C58-4D4B-B36E-1ED7E6E52FE6}">
      <dgm:prSet/>
      <dgm:spPr/>
      <dgm:t>
        <a:bodyPr/>
        <a:lstStyle/>
        <a:p>
          <a:endParaRPr lang="en-US"/>
        </a:p>
      </dgm:t>
    </dgm:pt>
    <dgm:pt modelId="{1FB30783-6947-4DA5-A12B-5FB5985F3530}">
      <dgm:prSet phldrT="[Text]"/>
      <dgm:spPr/>
      <dgm:t>
        <a:bodyPr/>
        <a:lstStyle/>
        <a:p>
          <a:r>
            <a:rPr lang="en-US" dirty="0"/>
            <a:t>Implementing the interventions </a:t>
          </a:r>
        </a:p>
      </dgm:t>
    </dgm:pt>
    <dgm:pt modelId="{9F44B4D1-4589-4AD0-AD51-CE02FDE98A1D}" type="parTrans" cxnId="{5C7D7E39-C81A-4671-BFE2-206A51C2E5BD}">
      <dgm:prSet/>
      <dgm:spPr/>
      <dgm:t>
        <a:bodyPr/>
        <a:lstStyle/>
        <a:p>
          <a:endParaRPr lang="en-US"/>
        </a:p>
      </dgm:t>
    </dgm:pt>
    <dgm:pt modelId="{97B0D775-2AE9-4C29-BB21-EC44EDA917CF}" type="sibTrans" cxnId="{5C7D7E39-C81A-4671-BFE2-206A51C2E5BD}">
      <dgm:prSet/>
      <dgm:spPr/>
      <dgm:t>
        <a:bodyPr/>
        <a:lstStyle/>
        <a:p>
          <a:endParaRPr lang="en-US"/>
        </a:p>
      </dgm:t>
    </dgm:pt>
    <dgm:pt modelId="{21216A0E-FE4F-46B3-AE8A-BD5A6ABA4345}">
      <dgm:prSet phldrT="[Text]"/>
      <dgm:spPr/>
      <dgm:t>
        <a:bodyPr/>
        <a:lstStyle/>
        <a:p>
          <a:r>
            <a:rPr lang="en-US" dirty="0"/>
            <a:t>Prioritizing research questions</a:t>
          </a:r>
        </a:p>
      </dgm:t>
    </dgm:pt>
    <dgm:pt modelId="{169064F3-B5C7-4EBC-AEDE-0A4838F81F38}" type="parTrans" cxnId="{421DD797-F3BF-4669-9CCD-9BDBE9C6702D}">
      <dgm:prSet/>
      <dgm:spPr/>
      <dgm:t>
        <a:bodyPr/>
        <a:lstStyle/>
        <a:p>
          <a:endParaRPr lang="en-US"/>
        </a:p>
      </dgm:t>
    </dgm:pt>
    <dgm:pt modelId="{20FFE108-2B98-4BA1-9FFD-5848C4E46A2F}" type="sibTrans" cxnId="{421DD797-F3BF-4669-9CCD-9BDBE9C6702D}">
      <dgm:prSet/>
      <dgm:spPr/>
      <dgm:t>
        <a:bodyPr/>
        <a:lstStyle/>
        <a:p>
          <a:endParaRPr lang="en-US"/>
        </a:p>
      </dgm:t>
    </dgm:pt>
    <dgm:pt modelId="{5DB90DDC-3383-47DA-B2AA-5E3E55357119}" type="pres">
      <dgm:prSet presAssocID="{EFA995A7-7598-4D47-BFDC-12CDCEDB0E9D}" presName="cycle" presStyleCnt="0">
        <dgm:presLayoutVars>
          <dgm:dir/>
          <dgm:resizeHandles val="exact"/>
        </dgm:presLayoutVars>
      </dgm:prSet>
      <dgm:spPr/>
    </dgm:pt>
    <dgm:pt modelId="{2571CB2A-F844-4C07-B8B4-732F9564D43D}" type="pres">
      <dgm:prSet presAssocID="{4FB77F0E-028E-4C9E-AAF2-D12931077461}" presName="dummy" presStyleCnt="0"/>
      <dgm:spPr/>
    </dgm:pt>
    <dgm:pt modelId="{C07DC233-98C3-473D-9768-47846A371664}" type="pres">
      <dgm:prSet presAssocID="{4FB77F0E-028E-4C9E-AAF2-D12931077461}" presName="node" presStyleLbl="revTx" presStyleIdx="0" presStyleCnt="5">
        <dgm:presLayoutVars>
          <dgm:bulletEnabled val="1"/>
        </dgm:presLayoutVars>
      </dgm:prSet>
      <dgm:spPr/>
    </dgm:pt>
    <dgm:pt modelId="{B3CE16FA-2722-48EF-9EE8-1CCDB597308F}" type="pres">
      <dgm:prSet presAssocID="{B65F1D39-B12E-4EA5-9310-784494DDBB94}" presName="sibTrans" presStyleLbl="node1" presStyleIdx="0" presStyleCnt="5"/>
      <dgm:spPr/>
    </dgm:pt>
    <dgm:pt modelId="{B37B4584-5E26-4768-B134-20F101A07FEF}" type="pres">
      <dgm:prSet presAssocID="{5E153371-8104-43D8-9B3C-229FC00E61AF}" presName="dummy" presStyleCnt="0"/>
      <dgm:spPr/>
    </dgm:pt>
    <dgm:pt modelId="{6FEF12A0-8DB6-45B6-AD1E-52C57CD909B3}" type="pres">
      <dgm:prSet presAssocID="{5E153371-8104-43D8-9B3C-229FC00E61AF}" presName="node" presStyleLbl="revTx" presStyleIdx="1" presStyleCnt="5">
        <dgm:presLayoutVars>
          <dgm:bulletEnabled val="1"/>
        </dgm:presLayoutVars>
      </dgm:prSet>
      <dgm:spPr/>
    </dgm:pt>
    <dgm:pt modelId="{A5191A9D-841B-4096-ACEC-B99245D5B195}" type="pres">
      <dgm:prSet presAssocID="{93476317-A5AB-46C3-95C8-46D7A245A552}" presName="sibTrans" presStyleLbl="node1" presStyleIdx="1" presStyleCnt="5"/>
      <dgm:spPr/>
    </dgm:pt>
    <dgm:pt modelId="{4C17EEF7-72C4-42C6-B6E9-142432C8C7CE}" type="pres">
      <dgm:prSet presAssocID="{F6AC1836-EE3E-4960-B600-706348439F1A}" presName="dummy" presStyleCnt="0"/>
      <dgm:spPr/>
    </dgm:pt>
    <dgm:pt modelId="{2E2B6D5E-DE62-441A-94A2-FF47987E4971}" type="pres">
      <dgm:prSet presAssocID="{F6AC1836-EE3E-4960-B600-706348439F1A}" presName="node" presStyleLbl="revTx" presStyleIdx="2" presStyleCnt="5">
        <dgm:presLayoutVars>
          <dgm:bulletEnabled val="1"/>
        </dgm:presLayoutVars>
      </dgm:prSet>
      <dgm:spPr/>
    </dgm:pt>
    <dgm:pt modelId="{AF385A42-FDBA-4B84-BF3F-E592797D7883}" type="pres">
      <dgm:prSet presAssocID="{9AA8AF91-93BD-48AA-A4D2-3A539BA87ABB}" presName="sibTrans" presStyleLbl="node1" presStyleIdx="2" presStyleCnt="5"/>
      <dgm:spPr/>
    </dgm:pt>
    <dgm:pt modelId="{4D54320F-D794-4288-B33D-9BB33E77FBB9}" type="pres">
      <dgm:prSet presAssocID="{1FB30783-6947-4DA5-A12B-5FB5985F3530}" presName="dummy" presStyleCnt="0"/>
      <dgm:spPr/>
    </dgm:pt>
    <dgm:pt modelId="{AF9A21F8-F17C-4C03-A48E-360C68446D7D}" type="pres">
      <dgm:prSet presAssocID="{1FB30783-6947-4DA5-A12B-5FB5985F3530}" presName="node" presStyleLbl="revTx" presStyleIdx="3" presStyleCnt="5" custRadScaleRad="99256" custRadScaleInc="5721">
        <dgm:presLayoutVars>
          <dgm:bulletEnabled val="1"/>
        </dgm:presLayoutVars>
      </dgm:prSet>
      <dgm:spPr/>
    </dgm:pt>
    <dgm:pt modelId="{DD1749AA-54F1-445E-9D2B-EB0F0C7A8DB6}" type="pres">
      <dgm:prSet presAssocID="{97B0D775-2AE9-4C29-BB21-EC44EDA917CF}" presName="sibTrans" presStyleLbl="node1" presStyleIdx="3" presStyleCnt="5" custLinFactNeighborX="-941" custLinFactNeighborY="451"/>
      <dgm:spPr/>
    </dgm:pt>
    <dgm:pt modelId="{2D3B7F1C-02B5-4550-B60F-ADB69212F804}" type="pres">
      <dgm:prSet presAssocID="{21216A0E-FE4F-46B3-AE8A-BD5A6ABA4345}" presName="dummy" presStyleCnt="0"/>
      <dgm:spPr/>
    </dgm:pt>
    <dgm:pt modelId="{6E15D140-B386-447F-B202-61B7A48AD7FC}" type="pres">
      <dgm:prSet presAssocID="{21216A0E-FE4F-46B3-AE8A-BD5A6ABA4345}" presName="node" presStyleLbl="revTx" presStyleIdx="4" presStyleCnt="5">
        <dgm:presLayoutVars>
          <dgm:bulletEnabled val="1"/>
        </dgm:presLayoutVars>
      </dgm:prSet>
      <dgm:spPr/>
    </dgm:pt>
    <dgm:pt modelId="{4CA30B2A-BC2A-4FB8-A2F8-70A513ABEDA1}" type="pres">
      <dgm:prSet presAssocID="{20FFE108-2B98-4BA1-9FFD-5848C4E46A2F}" presName="sibTrans" presStyleLbl="node1" presStyleIdx="4" presStyleCnt="5"/>
      <dgm:spPr/>
    </dgm:pt>
  </dgm:ptLst>
  <dgm:cxnLst>
    <dgm:cxn modelId="{7CDCDD0D-702B-429F-8B8D-67974DFCDC7F}" srcId="{EFA995A7-7598-4D47-BFDC-12CDCEDB0E9D}" destId="{5E153371-8104-43D8-9B3C-229FC00E61AF}" srcOrd="1" destOrd="0" parTransId="{45890F76-78A5-4CD5-94BD-3C50CB0DF1AD}" sibTransId="{93476317-A5AB-46C3-95C8-46D7A245A552}"/>
    <dgm:cxn modelId="{5C7D7E39-C81A-4671-BFE2-206A51C2E5BD}" srcId="{EFA995A7-7598-4D47-BFDC-12CDCEDB0E9D}" destId="{1FB30783-6947-4DA5-A12B-5FB5985F3530}" srcOrd="3" destOrd="0" parTransId="{9F44B4D1-4589-4AD0-AD51-CE02FDE98A1D}" sibTransId="{97B0D775-2AE9-4C29-BB21-EC44EDA917CF}"/>
    <dgm:cxn modelId="{8C1E555D-37A7-4482-BBE8-77AFF7EF75FE}" srcId="{EFA995A7-7598-4D47-BFDC-12CDCEDB0E9D}" destId="{4FB77F0E-028E-4C9E-AAF2-D12931077461}" srcOrd="0" destOrd="0" parTransId="{CA3DD704-ACF7-497F-8292-5CBF159900DB}" sibTransId="{B65F1D39-B12E-4EA5-9310-784494DDBB94}"/>
    <dgm:cxn modelId="{2C1FCF64-9C58-4D4B-B36E-1ED7E6E52FE6}" srcId="{EFA995A7-7598-4D47-BFDC-12CDCEDB0E9D}" destId="{F6AC1836-EE3E-4960-B600-706348439F1A}" srcOrd="2" destOrd="0" parTransId="{29BABEB8-93EA-4C87-AD48-BDB9AA3BCF1A}" sibTransId="{9AA8AF91-93BD-48AA-A4D2-3A539BA87ABB}"/>
    <dgm:cxn modelId="{3EED7969-EECD-444F-A9E4-7E4A1C3BFE75}" type="presOf" srcId="{97B0D775-2AE9-4C29-BB21-EC44EDA917CF}" destId="{DD1749AA-54F1-445E-9D2B-EB0F0C7A8DB6}" srcOrd="0" destOrd="0" presId="urn:microsoft.com/office/officeart/2005/8/layout/cycle1"/>
    <dgm:cxn modelId="{FE2F674A-9921-448C-9433-0A32862663AF}" type="presOf" srcId="{EFA995A7-7598-4D47-BFDC-12CDCEDB0E9D}" destId="{5DB90DDC-3383-47DA-B2AA-5E3E55357119}" srcOrd="0" destOrd="0" presId="urn:microsoft.com/office/officeart/2005/8/layout/cycle1"/>
    <dgm:cxn modelId="{C7429187-1ADE-47E0-9EF7-5772540CCF09}" type="presOf" srcId="{21216A0E-FE4F-46B3-AE8A-BD5A6ABA4345}" destId="{6E15D140-B386-447F-B202-61B7A48AD7FC}" srcOrd="0" destOrd="0" presId="urn:microsoft.com/office/officeart/2005/8/layout/cycle1"/>
    <dgm:cxn modelId="{421DD797-F3BF-4669-9CCD-9BDBE9C6702D}" srcId="{EFA995A7-7598-4D47-BFDC-12CDCEDB0E9D}" destId="{21216A0E-FE4F-46B3-AE8A-BD5A6ABA4345}" srcOrd="4" destOrd="0" parTransId="{169064F3-B5C7-4EBC-AEDE-0A4838F81F38}" sibTransId="{20FFE108-2B98-4BA1-9FFD-5848C4E46A2F}"/>
    <dgm:cxn modelId="{C232E7A2-BBD2-48D8-B56B-732DD540F2F9}" type="presOf" srcId="{5E153371-8104-43D8-9B3C-229FC00E61AF}" destId="{6FEF12A0-8DB6-45B6-AD1E-52C57CD909B3}" srcOrd="0" destOrd="0" presId="urn:microsoft.com/office/officeart/2005/8/layout/cycle1"/>
    <dgm:cxn modelId="{77C60EA7-650A-4759-B3FE-7F9667B5CEC7}" type="presOf" srcId="{20FFE108-2B98-4BA1-9FFD-5848C4E46A2F}" destId="{4CA30B2A-BC2A-4FB8-A2F8-70A513ABEDA1}" srcOrd="0" destOrd="0" presId="urn:microsoft.com/office/officeart/2005/8/layout/cycle1"/>
    <dgm:cxn modelId="{636744BD-1E75-4FC9-907A-0D1930CBB096}" type="presOf" srcId="{4FB77F0E-028E-4C9E-AAF2-D12931077461}" destId="{C07DC233-98C3-473D-9768-47846A371664}" srcOrd="0" destOrd="0" presId="urn:microsoft.com/office/officeart/2005/8/layout/cycle1"/>
    <dgm:cxn modelId="{FA97E8BE-21D5-435C-A638-73F95C3B263D}" type="presOf" srcId="{1FB30783-6947-4DA5-A12B-5FB5985F3530}" destId="{AF9A21F8-F17C-4C03-A48E-360C68446D7D}" srcOrd="0" destOrd="0" presId="urn:microsoft.com/office/officeart/2005/8/layout/cycle1"/>
    <dgm:cxn modelId="{63EEA6D0-0317-4A29-A154-936092C3A6AC}" type="presOf" srcId="{9AA8AF91-93BD-48AA-A4D2-3A539BA87ABB}" destId="{AF385A42-FDBA-4B84-BF3F-E592797D7883}" srcOrd="0" destOrd="0" presId="urn:microsoft.com/office/officeart/2005/8/layout/cycle1"/>
    <dgm:cxn modelId="{DBE0B0DC-1BF7-4A1A-A39A-B48A03A31CF1}" type="presOf" srcId="{93476317-A5AB-46C3-95C8-46D7A245A552}" destId="{A5191A9D-841B-4096-ACEC-B99245D5B195}" srcOrd="0" destOrd="0" presId="urn:microsoft.com/office/officeart/2005/8/layout/cycle1"/>
    <dgm:cxn modelId="{9040B9ED-C522-42DE-8E6B-2DDFD13E6F40}" type="presOf" srcId="{F6AC1836-EE3E-4960-B600-706348439F1A}" destId="{2E2B6D5E-DE62-441A-94A2-FF47987E4971}" srcOrd="0" destOrd="0" presId="urn:microsoft.com/office/officeart/2005/8/layout/cycle1"/>
    <dgm:cxn modelId="{969934EF-C48F-4F00-993B-A036CFD77B00}" type="presOf" srcId="{B65F1D39-B12E-4EA5-9310-784494DDBB94}" destId="{B3CE16FA-2722-48EF-9EE8-1CCDB597308F}" srcOrd="0" destOrd="0" presId="urn:microsoft.com/office/officeart/2005/8/layout/cycle1"/>
    <dgm:cxn modelId="{3D9DB862-6139-4DB6-A93A-CBFB3117E2D1}" type="presParOf" srcId="{5DB90DDC-3383-47DA-B2AA-5E3E55357119}" destId="{2571CB2A-F844-4C07-B8B4-732F9564D43D}" srcOrd="0" destOrd="0" presId="urn:microsoft.com/office/officeart/2005/8/layout/cycle1"/>
    <dgm:cxn modelId="{54F48970-12F8-485F-BBB8-DE0BBCA74B89}" type="presParOf" srcId="{5DB90DDC-3383-47DA-B2AA-5E3E55357119}" destId="{C07DC233-98C3-473D-9768-47846A371664}" srcOrd="1" destOrd="0" presId="urn:microsoft.com/office/officeart/2005/8/layout/cycle1"/>
    <dgm:cxn modelId="{AE4DA563-FEB7-4E44-A93F-88B687A9C956}" type="presParOf" srcId="{5DB90DDC-3383-47DA-B2AA-5E3E55357119}" destId="{B3CE16FA-2722-48EF-9EE8-1CCDB597308F}" srcOrd="2" destOrd="0" presId="urn:microsoft.com/office/officeart/2005/8/layout/cycle1"/>
    <dgm:cxn modelId="{A2947198-C660-4F55-9585-D7D1A14D880A}" type="presParOf" srcId="{5DB90DDC-3383-47DA-B2AA-5E3E55357119}" destId="{B37B4584-5E26-4768-B134-20F101A07FEF}" srcOrd="3" destOrd="0" presId="urn:microsoft.com/office/officeart/2005/8/layout/cycle1"/>
    <dgm:cxn modelId="{65135FAE-0826-4572-8708-41934B61D02E}" type="presParOf" srcId="{5DB90DDC-3383-47DA-B2AA-5E3E55357119}" destId="{6FEF12A0-8DB6-45B6-AD1E-52C57CD909B3}" srcOrd="4" destOrd="0" presId="urn:microsoft.com/office/officeart/2005/8/layout/cycle1"/>
    <dgm:cxn modelId="{9EA206EB-3B6F-4788-94ED-63AC9BBAA80F}" type="presParOf" srcId="{5DB90DDC-3383-47DA-B2AA-5E3E55357119}" destId="{A5191A9D-841B-4096-ACEC-B99245D5B195}" srcOrd="5" destOrd="0" presId="urn:microsoft.com/office/officeart/2005/8/layout/cycle1"/>
    <dgm:cxn modelId="{D2DE9333-DD47-4FB6-928D-81FCE37442FB}" type="presParOf" srcId="{5DB90DDC-3383-47DA-B2AA-5E3E55357119}" destId="{4C17EEF7-72C4-42C6-B6E9-142432C8C7CE}" srcOrd="6" destOrd="0" presId="urn:microsoft.com/office/officeart/2005/8/layout/cycle1"/>
    <dgm:cxn modelId="{A5A286D0-3CF4-4335-B92C-0B758CA4C66B}" type="presParOf" srcId="{5DB90DDC-3383-47DA-B2AA-5E3E55357119}" destId="{2E2B6D5E-DE62-441A-94A2-FF47987E4971}" srcOrd="7" destOrd="0" presId="urn:microsoft.com/office/officeart/2005/8/layout/cycle1"/>
    <dgm:cxn modelId="{42EB527F-DC3C-4A26-B95D-77D0752E0E07}" type="presParOf" srcId="{5DB90DDC-3383-47DA-B2AA-5E3E55357119}" destId="{AF385A42-FDBA-4B84-BF3F-E592797D7883}" srcOrd="8" destOrd="0" presId="urn:microsoft.com/office/officeart/2005/8/layout/cycle1"/>
    <dgm:cxn modelId="{8763C627-33EB-44EF-BABD-760B66E21440}" type="presParOf" srcId="{5DB90DDC-3383-47DA-B2AA-5E3E55357119}" destId="{4D54320F-D794-4288-B33D-9BB33E77FBB9}" srcOrd="9" destOrd="0" presId="urn:microsoft.com/office/officeart/2005/8/layout/cycle1"/>
    <dgm:cxn modelId="{42819745-B202-41E1-ADAF-A1992F37520D}" type="presParOf" srcId="{5DB90DDC-3383-47DA-B2AA-5E3E55357119}" destId="{AF9A21F8-F17C-4C03-A48E-360C68446D7D}" srcOrd="10" destOrd="0" presId="urn:microsoft.com/office/officeart/2005/8/layout/cycle1"/>
    <dgm:cxn modelId="{0A194524-5D38-4E43-B9FF-6EB6C1B197B8}" type="presParOf" srcId="{5DB90DDC-3383-47DA-B2AA-5E3E55357119}" destId="{DD1749AA-54F1-445E-9D2B-EB0F0C7A8DB6}" srcOrd="11" destOrd="0" presId="urn:microsoft.com/office/officeart/2005/8/layout/cycle1"/>
    <dgm:cxn modelId="{5C3673EC-1935-4C9E-B481-0DBD72DDE036}" type="presParOf" srcId="{5DB90DDC-3383-47DA-B2AA-5E3E55357119}" destId="{2D3B7F1C-02B5-4550-B60F-ADB69212F804}" srcOrd="12" destOrd="0" presId="urn:microsoft.com/office/officeart/2005/8/layout/cycle1"/>
    <dgm:cxn modelId="{FA6CEBDF-80AD-48D6-830C-1E7747FB6518}" type="presParOf" srcId="{5DB90DDC-3383-47DA-B2AA-5E3E55357119}" destId="{6E15D140-B386-447F-B202-61B7A48AD7FC}" srcOrd="13" destOrd="0" presId="urn:microsoft.com/office/officeart/2005/8/layout/cycle1"/>
    <dgm:cxn modelId="{B3C2A234-CC01-4657-920F-11CACE74AD60}" type="presParOf" srcId="{5DB90DDC-3383-47DA-B2AA-5E3E55357119}" destId="{4CA30B2A-BC2A-4FB8-A2F8-70A513ABEDA1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E40ACC2-580C-477E-B60E-72955991CFE2}" type="doc">
      <dgm:prSet loTypeId="urn:microsoft.com/office/officeart/2011/layout/HexagonRadial" loCatId="cycle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1A2AAFF-245D-446D-B20A-2723F26F53C6}">
      <dgm:prSet phldrT="[Text]" custT="1"/>
      <dgm:spPr/>
      <dgm:t>
        <a:bodyPr/>
        <a:lstStyle/>
        <a:p>
          <a:r>
            <a:rPr lang="en-US" sz="1600" b="1"/>
            <a:t>Health R&amp;D ecosystem </a:t>
          </a:r>
        </a:p>
      </dgm:t>
    </dgm:pt>
    <dgm:pt modelId="{7114362E-A085-4D2E-ABA2-C3EC7BABF977}" type="parTrans" cxnId="{4A10AEA2-3E29-437A-8736-13A985674E16}">
      <dgm:prSet/>
      <dgm:spPr/>
      <dgm:t>
        <a:bodyPr/>
        <a:lstStyle/>
        <a:p>
          <a:endParaRPr lang="en-US"/>
        </a:p>
      </dgm:t>
    </dgm:pt>
    <dgm:pt modelId="{07D22E81-80BF-4C52-AE33-1913608B9D1A}" type="sibTrans" cxnId="{4A10AEA2-3E29-437A-8736-13A985674E16}">
      <dgm:prSet/>
      <dgm:spPr/>
      <dgm:t>
        <a:bodyPr/>
        <a:lstStyle/>
        <a:p>
          <a:endParaRPr lang="en-US"/>
        </a:p>
      </dgm:t>
    </dgm:pt>
    <dgm:pt modelId="{D9290555-60BF-4A45-9CD1-7DEFCBBA84B7}">
      <dgm:prSet phldrT="[Text]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b="1"/>
            <a:t>Regulation and manufacturing</a:t>
          </a:r>
        </a:p>
      </dgm:t>
    </dgm:pt>
    <dgm:pt modelId="{B725433A-357A-49A4-B908-49994576651A}" type="parTrans" cxnId="{38546ACC-69FD-43C8-8E53-D976D23D9792}">
      <dgm:prSet/>
      <dgm:spPr/>
      <dgm:t>
        <a:bodyPr/>
        <a:lstStyle/>
        <a:p>
          <a:endParaRPr lang="en-US"/>
        </a:p>
      </dgm:t>
    </dgm:pt>
    <dgm:pt modelId="{74D97F71-B7AD-47C4-BAD1-F04FC9D4F220}" type="sibTrans" cxnId="{38546ACC-69FD-43C8-8E53-D976D23D9792}">
      <dgm:prSet/>
      <dgm:spPr/>
      <dgm:t>
        <a:bodyPr/>
        <a:lstStyle/>
        <a:p>
          <a:endParaRPr lang="en-US"/>
        </a:p>
      </dgm:t>
    </dgm:pt>
    <dgm:pt modelId="{91E6B8BA-8F80-4BF1-A205-51EE6F4B11A5}">
      <dgm:prSet phldrT="[Text]"/>
      <dgm:spPr/>
      <dgm:t>
        <a:bodyPr/>
        <a:lstStyle/>
        <a:p>
          <a:r>
            <a:rPr lang="en-US" b="1"/>
            <a:t>Basic and Preclinical Research </a:t>
          </a:r>
        </a:p>
      </dgm:t>
    </dgm:pt>
    <dgm:pt modelId="{A2A8A6F8-F2D1-45AE-8DFC-B8F1206C4F05}" type="parTrans" cxnId="{8E31A0C8-D295-4C84-851B-08A0AF06CCCE}">
      <dgm:prSet/>
      <dgm:spPr/>
      <dgm:t>
        <a:bodyPr/>
        <a:lstStyle/>
        <a:p>
          <a:endParaRPr lang="en-US"/>
        </a:p>
      </dgm:t>
    </dgm:pt>
    <dgm:pt modelId="{6581EDF0-8606-4F51-8B91-AFB015103D02}" type="sibTrans" cxnId="{8E31A0C8-D295-4C84-851B-08A0AF06CCCE}">
      <dgm:prSet/>
      <dgm:spPr/>
      <dgm:t>
        <a:bodyPr/>
        <a:lstStyle/>
        <a:p>
          <a:endParaRPr lang="en-US"/>
        </a:p>
      </dgm:t>
    </dgm:pt>
    <dgm:pt modelId="{09336E56-FD37-4139-985A-50652A917A3D}">
      <dgm:prSet phldrT="[Text]"/>
      <dgm:spPr/>
      <dgm:t>
        <a:bodyPr/>
        <a:lstStyle/>
        <a:p>
          <a:pPr>
            <a:buNone/>
          </a:pPr>
          <a:r>
            <a:rPr lang="en-US" b="1"/>
            <a:t>Clinical Research</a:t>
          </a:r>
        </a:p>
      </dgm:t>
    </dgm:pt>
    <dgm:pt modelId="{F16EE8E1-6951-4C4C-8D30-C81FF61DDDA0}" type="parTrans" cxnId="{1A72BEF3-72D9-4B7F-A692-95F5B6CB2FFD}">
      <dgm:prSet/>
      <dgm:spPr/>
      <dgm:t>
        <a:bodyPr/>
        <a:lstStyle/>
        <a:p>
          <a:endParaRPr lang="en-US"/>
        </a:p>
      </dgm:t>
    </dgm:pt>
    <dgm:pt modelId="{10FB5EDA-5A88-471F-93CD-EEE7AE6EFFB8}" type="sibTrans" cxnId="{1A72BEF3-72D9-4B7F-A692-95F5B6CB2FFD}">
      <dgm:prSet/>
      <dgm:spPr/>
      <dgm:t>
        <a:bodyPr/>
        <a:lstStyle/>
        <a:p>
          <a:endParaRPr lang="en-US"/>
        </a:p>
      </dgm:t>
    </dgm:pt>
    <dgm:pt modelId="{87251FFE-DD99-491C-9939-DC52BFF65120}">
      <dgm:prSet phldrT="[Text]"/>
      <dgm:spPr/>
      <dgm:t>
        <a:bodyPr/>
        <a:lstStyle/>
        <a:p>
          <a:r>
            <a:rPr lang="en-US" b="1"/>
            <a:t>Social Science Research</a:t>
          </a:r>
        </a:p>
      </dgm:t>
    </dgm:pt>
    <dgm:pt modelId="{31DFF670-72B8-4CB2-8EBF-EF497627AFA7}" type="parTrans" cxnId="{D34594C1-4403-4E11-B971-D1BCFB32EF3D}">
      <dgm:prSet/>
      <dgm:spPr/>
      <dgm:t>
        <a:bodyPr/>
        <a:lstStyle/>
        <a:p>
          <a:endParaRPr lang="en-US"/>
        </a:p>
      </dgm:t>
    </dgm:pt>
    <dgm:pt modelId="{C45C16BD-9798-490D-96E8-92AAA70D8555}" type="sibTrans" cxnId="{D34594C1-4403-4E11-B971-D1BCFB32EF3D}">
      <dgm:prSet/>
      <dgm:spPr/>
      <dgm:t>
        <a:bodyPr/>
        <a:lstStyle/>
        <a:p>
          <a:endParaRPr lang="en-US"/>
        </a:p>
      </dgm:t>
    </dgm:pt>
    <dgm:pt modelId="{F8F85E19-C911-44E2-87AF-CE3D3F034753}">
      <dgm:prSet phldrT="[Text]"/>
      <dgm:spPr/>
      <dgm:t>
        <a:bodyPr/>
        <a:lstStyle/>
        <a:p>
          <a:r>
            <a:rPr lang="en-US" b="1"/>
            <a:t>Knowledge Translation</a:t>
          </a:r>
        </a:p>
      </dgm:t>
    </dgm:pt>
    <dgm:pt modelId="{AC834E78-87AC-4663-B1CD-F3B780EE7E51}" type="parTrans" cxnId="{2EF11AD3-3C03-4765-9BB3-A57B72BCC469}">
      <dgm:prSet/>
      <dgm:spPr/>
      <dgm:t>
        <a:bodyPr/>
        <a:lstStyle/>
        <a:p>
          <a:endParaRPr lang="en-US"/>
        </a:p>
      </dgm:t>
    </dgm:pt>
    <dgm:pt modelId="{3BBC61C9-0C49-4979-8AA8-ACCDB83F157D}" type="sibTrans" cxnId="{2EF11AD3-3C03-4765-9BB3-A57B72BCC469}">
      <dgm:prSet/>
      <dgm:spPr/>
      <dgm:t>
        <a:bodyPr/>
        <a:lstStyle/>
        <a:p>
          <a:endParaRPr lang="en-US"/>
        </a:p>
      </dgm:t>
    </dgm:pt>
    <dgm:pt modelId="{C7F62B64-114D-4DB0-92A6-35AE37B9688D}">
      <dgm:prSet phldrT="[Text]"/>
      <dgm:spPr/>
      <dgm:t>
        <a:bodyPr/>
        <a:lstStyle/>
        <a:p>
          <a:r>
            <a:rPr lang="en-US" b="1"/>
            <a:t>Implementation Research</a:t>
          </a:r>
        </a:p>
      </dgm:t>
    </dgm:pt>
    <dgm:pt modelId="{5DD838FD-B8D6-4891-85F3-47D54865F4E2}" type="parTrans" cxnId="{617F9AA6-C9A7-42D7-87C8-47A4463049BF}">
      <dgm:prSet/>
      <dgm:spPr/>
      <dgm:t>
        <a:bodyPr/>
        <a:lstStyle/>
        <a:p>
          <a:endParaRPr lang="en-US"/>
        </a:p>
      </dgm:t>
    </dgm:pt>
    <dgm:pt modelId="{166F68BA-6FD6-4625-972B-CC2FF170933D}" type="sibTrans" cxnId="{617F9AA6-C9A7-42D7-87C8-47A4463049BF}">
      <dgm:prSet/>
      <dgm:spPr/>
      <dgm:t>
        <a:bodyPr/>
        <a:lstStyle/>
        <a:p>
          <a:endParaRPr lang="en-US"/>
        </a:p>
      </dgm:t>
    </dgm:pt>
    <dgm:pt modelId="{C003DAEB-9C0D-437C-808B-4359F8D828BF}" type="pres">
      <dgm:prSet presAssocID="{0E40ACC2-580C-477E-B60E-72955991CFE2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F810DF6F-6D99-41BB-93CA-6A5E41BC325B}" type="pres">
      <dgm:prSet presAssocID="{91A2AAFF-245D-446D-B20A-2723F26F53C6}" presName="Parent" presStyleLbl="node0" presStyleIdx="0" presStyleCnt="1">
        <dgm:presLayoutVars>
          <dgm:chMax val="6"/>
          <dgm:chPref val="6"/>
        </dgm:presLayoutVars>
      </dgm:prSet>
      <dgm:spPr/>
    </dgm:pt>
    <dgm:pt modelId="{68F87A83-1DEB-444D-B120-0B9B21CEC0E7}" type="pres">
      <dgm:prSet presAssocID="{D9290555-60BF-4A45-9CD1-7DEFCBBA84B7}" presName="Accent1" presStyleCnt="0"/>
      <dgm:spPr/>
    </dgm:pt>
    <dgm:pt modelId="{8D7C78EE-3E1F-4451-9020-4C878DF8C51D}" type="pres">
      <dgm:prSet presAssocID="{D9290555-60BF-4A45-9CD1-7DEFCBBA84B7}" presName="Accent" presStyleLbl="bgShp" presStyleIdx="0" presStyleCnt="6"/>
      <dgm:spPr/>
    </dgm:pt>
    <dgm:pt modelId="{4F6012C0-742F-49FE-A869-762B9314E051}" type="pres">
      <dgm:prSet presAssocID="{D9290555-60BF-4A45-9CD1-7DEFCBBA84B7}" presName="Child1" presStyleLbl="node1" presStyleIdx="0" presStyleCnt="6" custLinFactNeighborX="-2276" custLinFactNeighborY="-9233">
        <dgm:presLayoutVars>
          <dgm:chMax val="0"/>
          <dgm:chPref val="0"/>
          <dgm:bulletEnabled val="1"/>
        </dgm:presLayoutVars>
      </dgm:prSet>
      <dgm:spPr/>
    </dgm:pt>
    <dgm:pt modelId="{43FE99E9-01BE-43F3-B263-4AA4C820F228}" type="pres">
      <dgm:prSet presAssocID="{91E6B8BA-8F80-4BF1-A205-51EE6F4B11A5}" presName="Accent2" presStyleCnt="0"/>
      <dgm:spPr/>
    </dgm:pt>
    <dgm:pt modelId="{ADE31FA9-35A8-4685-91E4-DE09A886F7D1}" type="pres">
      <dgm:prSet presAssocID="{91E6B8BA-8F80-4BF1-A205-51EE6F4B11A5}" presName="Accent" presStyleLbl="bgShp" presStyleIdx="1" presStyleCnt="6" custLinFactNeighborX="4545" custLinFactNeighborY="1758"/>
      <dgm:spPr>
        <a:noFill/>
      </dgm:spPr>
    </dgm:pt>
    <dgm:pt modelId="{F7B5FC79-556F-4548-83CE-4CF154E7F4E4}" type="pres">
      <dgm:prSet presAssocID="{91E6B8BA-8F80-4BF1-A205-51EE6F4B11A5}" presName="Child2" presStyleLbl="node1" presStyleIdx="1" presStyleCnt="6" custLinFactNeighborX="445" custLinFactNeighborY="1285">
        <dgm:presLayoutVars>
          <dgm:chMax val="0"/>
          <dgm:chPref val="0"/>
          <dgm:bulletEnabled val="1"/>
        </dgm:presLayoutVars>
      </dgm:prSet>
      <dgm:spPr/>
    </dgm:pt>
    <dgm:pt modelId="{AA79901E-13A9-4A8F-8E76-F13536CA233E}" type="pres">
      <dgm:prSet presAssocID="{09336E56-FD37-4139-985A-50652A917A3D}" presName="Accent3" presStyleCnt="0"/>
      <dgm:spPr/>
    </dgm:pt>
    <dgm:pt modelId="{43E060C9-0E2B-4207-BCBB-C8B8311775B3}" type="pres">
      <dgm:prSet presAssocID="{09336E56-FD37-4139-985A-50652A917A3D}" presName="Accent" presStyleLbl="bgShp" presStyleIdx="2" presStyleCnt="6"/>
      <dgm:spPr>
        <a:noFill/>
      </dgm:spPr>
    </dgm:pt>
    <dgm:pt modelId="{38DDDCA0-D932-4457-BB88-3AE11B0F9DEF}" type="pres">
      <dgm:prSet presAssocID="{09336E56-FD37-4139-985A-50652A917A3D}" presName="Child3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D2CA8493-BDC1-4BE7-B73B-2EB1965BC8CC}" type="pres">
      <dgm:prSet presAssocID="{87251FFE-DD99-491C-9939-DC52BFF65120}" presName="Accent4" presStyleCnt="0"/>
      <dgm:spPr/>
    </dgm:pt>
    <dgm:pt modelId="{A2B2E019-BDED-492C-89B4-EB3D808AB856}" type="pres">
      <dgm:prSet presAssocID="{87251FFE-DD99-491C-9939-DC52BFF65120}" presName="Accent" presStyleLbl="bgShp" presStyleIdx="3" presStyleCnt="6"/>
      <dgm:spPr>
        <a:noFill/>
      </dgm:spPr>
    </dgm:pt>
    <dgm:pt modelId="{37429492-1154-4FD4-9C3A-0AD1777EEADB}" type="pres">
      <dgm:prSet presAssocID="{87251FFE-DD99-491C-9939-DC52BFF65120}" presName="Child4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53FA5CC1-08F9-4B1D-BB04-8D65C1544403}" type="pres">
      <dgm:prSet presAssocID="{C7F62B64-114D-4DB0-92A6-35AE37B9688D}" presName="Accent5" presStyleCnt="0"/>
      <dgm:spPr/>
    </dgm:pt>
    <dgm:pt modelId="{FD7786D6-23D8-4EB5-8E97-A6D2782B6E06}" type="pres">
      <dgm:prSet presAssocID="{C7F62B64-114D-4DB0-92A6-35AE37B9688D}" presName="Accent" presStyleLbl="bgShp" presStyleIdx="4" presStyleCnt="6"/>
      <dgm:spPr>
        <a:noFill/>
      </dgm:spPr>
    </dgm:pt>
    <dgm:pt modelId="{98911F46-AA6C-4F43-9D11-3C2FF5DF8AD5}" type="pres">
      <dgm:prSet presAssocID="{C7F62B64-114D-4DB0-92A6-35AE37B9688D}" presName="Child5" presStyleLbl="node1" presStyleIdx="4" presStyleCnt="6" custLinFactNeighborX="1139" custLinFactNeighborY="629">
        <dgm:presLayoutVars>
          <dgm:chMax val="0"/>
          <dgm:chPref val="0"/>
          <dgm:bulletEnabled val="1"/>
        </dgm:presLayoutVars>
      </dgm:prSet>
      <dgm:spPr/>
    </dgm:pt>
    <dgm:pt modelId="{9917D3C4-300E-4D8B-BCE4-C02967464394}" type="pres">
      <dgm:prSet presAssocID="{F8F85E19-C911-44E2-87AF-CE3D3F034753}" presName="Accent6" presStyleCnt="0"/>
      <dgm:spPr/>
    </dgm:pt>
    <dgm:pt modelId="{97CFE338-E4CD-4A22-BB46-67B4DA055908}" type="pres">
      <dgm:prSet presAssocID="{F8F85E19-C911-44E2-87AF-CE3D3F034753}" presName="Accent" presStyleLbl="bgShp" presStyleIdx="5" presStyleCnt="6"/>
      <dgm:spPr>
        <a:noFill/>
      </dgm:spPr>
    </dgm:pt>
    <dgm:pt modelId="{A5062C88-D124-4E63-A952-D15A06F0C19F}" type="pres">
      <dgm:prSet presAssocID="{F8F85E19-C911-44E2-87AF-CE3D3F034753}" presName="Child6" presStyleLbl="node1" presStyleIdx="5" presStyleCnt="6" custLinFactNeighborX="-847" custLinFactNeighborY="7574">
        <dgm:presLayoutVars>
          <dgm:chMax val="0"/>
          <dgm:chPref val="0"/>
          <dgm:bulletEnabled val="1"/>
        </dgm:presLayoutVars>
      </dgm:prSet>
      <dgm:spPr/>
    </dgm:pt>
  </dgm:ptLst>
  <dgm:cxnLst>
    <dgm:cxn modelId="{5CE4843B-6512-4930-92CE-5C270BE721BA}" type="presOf" srcId="{91A2AAFF-245D-446D-B20A-2723F26F53C6}" destId="{F810DF6F-6D99-41BB-93CA-6A5E41BC325B}" srcOrd="0" destOrd="0" presId="urn:microsoft.com/office/officeart/2011/layout/HexagonRadial"/>
    <dgm:cxn modelId="{22D7C65F-F4DA-4459-94EF-C4B42C892C41}" type="presOf" srcId="{09336E56-FD37-4139-985A-50652A917A3D}" destId="{38DDDCA0-D932-4457-BB88-3AE11B0F9DEF}" srcOrd="0" destOrd="0" presId="urn:microsoft.com/office/officeart/2011/layout/HexagonRadial"/>
    <dgm:cxn modelId="{4A10AEA2-3E29-437A-8736-13A985674E16}" srcId="{0E40ACC2-580C-477E-B60E-72955991CFE2}" destId="{91A2AAFF-245D-446D-B20A-2723F26F53C6}" srcOrd="0" destOrd="0" parTransId="{7114362E-A085-4D2E-ABA2-C3EC7BABF977}" sibTransId="{07D22E81-80BF-4C52-AE33-1913608B9D1A}"/>
    <dgm:cxn modelId="{617F9AA6-C9A7-42D7-87C8-47A4463049BF}" srcId="{91A2AAFF-245D-446D-B20A-2723F26F53C6}" destId="{C7F62B64-114D-4DB0-92A6-35AE37B9688D}" srcOrd="4" destOrd="0" parTransId="{5DD838FD-B8D6-4891-85F3-47D54865F4E2}" sibTransId="{166F68BA-6FD6-4625-972B-CC2FF170933D}"/>
    <dgm:cxn modelId="{DF0230AC-CB41-428A-BE28-FA3CCF5A82D4}" type="presOf" srcId="{F8F85E19-C911-44E2-87AF-CE3D3F034753}" destId="{A5062C88-D124-4E63-A952-D15A06F0C19F}" srcOrd="0" destOrd="0" presId="urn:microsoft.com/office/officeart/2011/layout/HexagonRadial"/>
    <dgm:cxn modelId="{565A28B0-598B-43FE-9EF8-A9847CE96775}" type="presOf" srcId="{87251FFE-DD99-491C-9939-DC52BFF65120}" destId="{37429492-1154-4FD4-9C3A-0AD1777EEADB}" srcOrd="0" destOrd="0" presId="urn:microsoft.com/office/officeart/2011/layout/HexagonRadial"/>
    <dgm:cxn modelId="{740CBFC0-7A0D-4EC9-9636-6AE7A3AAA985}" type="presOf" srcId="{D9290555-60BF-4A45-9CD1-7DEFCBBA84B7}" destId="{4F6012C0-742F-49FE-A869-762B9314E051}" srcOrd="0" destOrd="0" presId="urn:microsoft.com/office/officeart/2011/layout/HexagonRadial"/>
    <dgm:cxn modelId="{D34594C1-4403-4E11-B971-D1BCFB32EF3D}" srcId="{91A2AAFF-245D-446D-B20A-2723F26F53C6}" destId="{87251FFE-DD99-491C-9939-DC52BFF65120}" srcOrd="3" destOrd="0" parTransId="{31DFF670-72B8-4CB2-8EBF-EF497627AFA7}" sibTransId="{C45C16BD-9798-490D-96E8-92AAA70D8555}"/>
    <dgm:cxn modelId="{8E31A0C8-D295-4C84-851B-08A0AF06CCCE}" srcId="{91A2AAFF-245D-446D-B20A-2723F26F53C6}" destId="{91E6B8BA-8F80-4BF1-A205-51EE6F4B11A5}" srcOrd="1" destOrd="0" parTransId="{A2A8A6F8-F2D1-45AE-8DFC-B8F1206C4F05}" sibTransId="{6581EDF0-8606-4F51-8B91-AFB015103D02}"/>
    <dgm:cxn modelId="{38546ACC-69FD-43C8-8E53-D976D23D9792}" srcId="{91A2AAFF-245D-446D-B20A-2723F26F53C6}" destId="{D9290555-60BF-4A45-9CD1-7DEFCBBA84B7}" srcOrd="0" destOrd="0" parTransId="{B725433A-357A-49A4-B908-49994576651A}" sibTransId="{74D97F71-B7AD-47C4-BAD1-F04FC9D4F220}"/>
    <dgm:cxn modelId="{586B0FD3-2BA2-4470-A338-F42FC0BF3AE9}" type="presOf" srcId="{C7F62B64-114D-4DB0-92A6-35AE37B9688D}" destId="{98911F46-AA6C-4F43-9D11-3C2FF5DF8AD5}" srcOrd="0" destOrd="0" presId="urn:microsoft.com/office/officeart/2011/layout/HexagonRadial"/>
    <dgm:cxn modelId="{2EF11AD3-3C03-4765-9BB3-A57B72BCC469}" srcId="{91A2AAFF-245D-446D-B20A-2723F26F53C6}" destId="{F8F85E19-C911-44E2-87AF-CE3D3F034753}" srcOrd="5" destOrd="0" parTransId="{AC834E78-87AC-4663-B1CD-F3B780EE7E51}" sibTransId="{3BBC61C9-0C49-4979-8AA8-ACCDB83F157D}"/>
    <dgm:cxn modelId="{1A72BEF3-72D9-4B7F-A692-95F5B6CB2FFD}" srcId="{91A2AAFF-245D-446D-B20A-2723F26F53C6}" destId="{09336E56-FD37-4139-985A-50652A917A3D}" srcOrd="2" destOrd="0" parTransId="{F16EE8E1-6951-4C4C-8D30-C81FF61DDDA0}" sibTransId="{10FB5EDA-5A88-471F-93CD-EEE7AE6EFFB8}"/>
    <dgm:cxn modelId="{869510FC-CFDC-4786-99CD-B1B649386406}" type="presOf" srcId="{91E6B8BA-8F80-4BF1-A205-51EE6F4B11A5}" destId="{F7B5FC79-556F-4548-83CE-4CF154E7F4E4}" srcOrd="0" destOrd="0" presId="urn:microsoft.com/office/officeart/2011/layout/HexagonRadial"/>
    <dgm:cxn modelId="{3E86D2FC-3FA8-4845-A198-B4A9CF691931}" type="presOf" srcId="{0E40ACC2-580C-477E-B60E-72955991CFE2}" destId="{C003DAEB-9C0D-437C-808B-4359F8D828BF}" srcOrd="0" destOrd="0" presId="urn:microsoft.com/office/officeart/2011/layout/HexagonRadial"/>
    <dgm:cxn modelId="{D7FD4F17-D50E-47B7-BD84-E654BDD6711E}" type="presParOf" srcId="{C003DAEB-9C0D-437C-808B-4359F8D828BF}" destId="{F810DF6F-6D99-41BB-93CA-6A5E41BC325B}" srcOrd="0" destOrd="0" presId="urn:microsoft.com/office/officeart/2011/layout/HexagonRadial"/>
    <dgm:cxn modelId="{FE8F5C4D-AE41-482C-877F-C6C0946E7EC8}" type="presParOf" srcId="{C003DAEB-9C0D-437C-808B-4359F8D828BF}" destId="{68F87A83-1DEB-444D-B120-0B9B21CEC0E7}" srcOrd="1" destOrd="0" presId="urn:microsoft.com/office/officeart/2011/layout/HexagonRadial"/>
    <dgm:cxn modelId="{4DB77561-1EBE-4F24-BD22-F9C35CA8E073}" type="presParOf" srcId="{68F87A83-1DEB-444D-B120-0B9B21CEC0E7}" destId="{8D7C78EE-3E1F-4451-9020-4C878DF8C51D}" srcOrd="0" destOrd="0" presId="urn:microsoft.com/office/officeart/2011/layout/HexagonRadial"/>
    <dgm:cxn modelId="{529A7C80-26C3-49CB-91AF-F3A982443BB3}" type="presParOf" srcId="{C003DAEB-9C0D-437C-808B-4359F8D828BF}" destId="{4F6012C0-742F-49FE-A869-762B9314E051}" srcOrd="2" destOrd="0" presId="urn:microsoft.com/office/officeart/2011/layout/HexagonRadial"/>
    <dgm:cxn modelId="{54DAFA76-7B60-407A-8117-90AB9A25FECF}" type="presParOf" srcId="{C003DAEB-9C0D-437C-808B-4359F8D828BF}" destId="{43FE99E9-01BE-43F3-B263-4AA4C820F228}" srcOrd="3" destOrd="0" presId="urn:microsoft.com/office/officeart/2011/layout/HexagonRadial"/>
    <dgm:cxn modelId="{D02D3923-65F3-4C4E-9C40-5B5F460068C9}" type="presParOf" srcId="{43FE99E9-01BE-43F3-B263-4AA4C820F228}" destId="{ADE31FA9-35A8-4685-91E4-DE09A886F7D1}" srcOrd="0" destOrd="0" presId="urn:microsoft.com/office/officeart/2011/layout/HexagonRadial"/>
    <dgm:cxn modelId="{B8AC9A72-8763-482F-87F8-339D02D5B2E5}" type="presParOf" srcId="{C003DAEB-9C0D-437C-808B-4359F8D828BF}" destId="{F7B5FC79-556F-4548-83CE-4CF154E7F4E4}" srcOrd="4" destOrd="0" presId="urn:microsoft.com/office/officeart/2011/layout/HexagonRadial"/>
    <dgm:cxn modelId="{A9E3B3D7-AE98-4F9F-9B4B-7D8EC35CC278}" type="presParOf" srcId="{C003DAEB-9C0D-437C-808B-4359F8D828BF}" destId="{AA79901E-13A9-4A8F-8E76-F13536CA233E}" srcOrd="5" destOrd="0" presId="urn:microsoft.com/office/officeart/2011/layout/HexagonRadial"/>
    <dgm:cxn modelId="{02CC6CDB-BA18-472F-8570-108D9159C538}" type="presParOf" srcId="{AA79901E-13A9-4A8F-8E76-F13536CA233E}" destId="{43E060C9-0E2B-4207-BCBB-C8B8311775B3}" srcOrd="0" destOrd="0" presId="urn:microsoft.com/office/officeart/2011/layout/HexagonRadial"/>
    <dgm:cxn modelId="{9C498112-8A8B-41BA-8B5B-74C75E36E12E}" type="presParOf" srcId="{C003DAEB-9C0D-437C-808B-4359F8D828BF}" destId="{38DDDCA0-D932-4457-BB88-3AE11B0F9DEF}" srcOrd="6" destOrd="0" presId="urn:microsoft.com/office/officeart/2011/layout/HexagonRadial"/>
    <dgm:cxn modelId="{0045E2BD-DDFE-4FBE-84EF-831B418FFBC6}" type="presParOf" srcId="{C003DAEB-9C0D-437C-808B-4359F8D828BF}" destId="{D2CA8493-BDC1-4BE7-B73B-2EB1965BC8CC}" srcOrd="7" destOrd="0" presId="urn:microsoft.com/office/officeart/2011/layout/HexagonRadial"/>
    <dgm:cxn modelId="{2295A745-5400-4CB3-A69B-EA635988ECCB}" type="presParOf" srcId="{D2CA8493-BDC1-4BE7-B73B-2EB1965BC8CC}" destId="{A2B2E019-BDED-492C-89B4-EB3D808AB856}" srcOrd="0" destOrd="0" presId="urn:microsoft.com/office/officeart/2011/layout/HexagonRadial"/>
    <dgm:cxn modelId="{DF167C09-A03B-4209-BAEA-7C952AC69C2E}" type="presParOf" srcId="{C003DAEB-9C0D-437C-808B-4359F8D828BF}" destId="{37429492-1154-4FD4-9C3A-0AD1777EEADB}" srcOrd="8" destOrd="0" presId="urn:microsoft.com/office/officeart/2011/layout/HexagonRadial"/>
    <dgm:cxn modelId="{291BAF3B-305A-4485-8D63-8A1B8D52BA09}" type="presParOf" srcId="{C003DAEB-9C0D-437C-808B-4359F8D828BF}" destId="{53FA5CC1-08F9-4B1D-BB04-8D65C1544403}" srcOrd="9" destOrd="0" presId="urn:microsoft.com/office/officeart/2011/layout/HexagonRadial"/>
    <dgm:cxn modelId="{CE0E6F60-2913-482F-9D60-459C4020AA63}" type="presParOf" srcId="{53FA5CC1-08F9-4B1D-BB04-8D65C1544403}" destId="{FD7786D6-23D8-4EB5-8E97-A6D2782B6E06}" srcOrd="0" destOrd="0" presId="urn:microsoft.com/office/officeart/2011/layout/HexagonRadial"/>
    <dgm:cxn modelId="{0F90D708-AE21-4305-A3A9-A80736B1137A}" type="presParOf" srcId="{C003DAEB-9C0D-437C-808B-4359F8D828BF}" destId="{98911F46-AA6C-4F43-9D11-3C2FF5DF8AD5}" srcOrd="10" destOrd="0" presId="urn:microsoft.com/office/officeart/2011/layout/HexagonRadial"/>
    <dgm:cxn modelId="{8E67F643-E1CB-4073-AB29-74D9D654AEA9}" type="presParOf" srcId="{C003DAEB-9C0D-437C-808B-4359F8D828BF}" destId="{9917D3C4-300E-4D8B-BCE4-C02967464394}" srcOrd="11" destOrd="0" presId="urn:microsoft.com/office/officeart/2011/layout/HexagonRadial"/>
    <dgm:cxn modelId="{AC6DB848-7B19-41FF-B8AE-0A3719B9EEF5}" type="presParOf" srcId="{9917D3C4-300E-4D8B-BCE4-C02967464394}" destId="{97CFE338-E4CD-4A22-BB46-67B4DA055908}" srcOrd="0" destOrd="0" presId="urn:microsoft.com/office/officeart/2011/layout/HexagonRadial"/>
    <dgm:cxn modelId="{61C5A276-9903-41EA-89C1-BAC9A7DB81B6}" type="presParOf" srcId="{C003DAEB-9C0D-437C-808B-4359F8D828BF}" destId="{A5062C88-D124-4E63-A952-D15A06F0C19F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005212-1837-49A2-9AC7-05AD53D09A38}" type="doc">
      <dgm:prSet loTypeId="urn:microsoft.com/office/officeart/2005/8/layout/h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A1128A2-3301-4E95-A908-006B1710EA01}">
      <dgm:prSet phldrT="[Text]"/>
      <dgm:spPr/>
      <dgm:t>
        <a:bodyPr/>
        <a:lstStyle/>
        <a:p>
          <a:r>
            <a:rPr lang="en-US" dirty="0"/>
            <a:t>Guidance</a:t>
          </a:r>
        </a:p>
      </dgm:t>
    </dgm:pt>
    <dgm:pt modelId="{39BA1EF7-AEE5-4BB6-974B-B853B2FE40C3}" type="parTrans" cxnId="{7A805B74-E1BA-48F6-8773-6A37E679D337}">
      <dgm:prSet/>
      <dgm:spPr/>
      <dgm:t>
        <a:bodyPr/>
        <a:lstStyle/>
        <a:p>
          <a:endParaRPr lang="en-US"/>
        </a:p>
      </dgm:t>
    </dgm:pt>
    <dgm:pt modelId="{85BB85A8-71D5-43C2-9BD8-52DB97C727A6}" type="sibTrans" cxnId="{7A805B74-E1BA-48F6-8773-6A37E679D337}">
      <dgm:prSet/>
      <dgm:spPr/>
      <dgm:t>
        <a:bodyPr/>
        <a:lstStyle/>
        <a:p>
          <a:endParaRPr lang="en-US"/>
        </a:p>
      </dgm:t>
    </dgm:pt>
    <dgm:pt modelId="{27C36CCD-1CA6-46AC-8508-148661BF58A9}">
      <dgm:prSet phldrT="[Text]" custT="1"/>
      <dgm:spPr/>
      <dgm:t>
        <a:bodyPr/>
        <a:lstStyle/>
        <a:p>
          <a:r>
            <a:rPr lang="en-US" sz="2000" dirty="0"/>
            <a:t>TAG constituted</a:t>
          </a:r>
        </a:p>
      </dgm:t>
    </dgm:pt>
    <dgm:pt modelId="{A64BE51B-5946-4383-B71D-9B34B7A67B5D}" type="parTrans" cxnId="{F2272820-0F9B-467B-8A2C-1094A99F5B0C}">
      <dgm:prSet/>
      <dgm:spPr/>
      <dgm:t>
        <a:bodyPr/>
        <a:lstStyle/>
        <a:p>
          <a:endParaRPr lang="en-US"/>
        </a:p>
      </dgm:t>
    </dgm:pt>
    <dgm:pt modelId="{F8DCE519-002F-4518-8C08-67F8F99303FE}" type="sibTrans" cxnId="{F2272820-0F9B-467B-8A2C-1094A99F5B0C}">
      <dgm:prSet/>
      <dgm:spPr/>
      <dgm:t>
        <a:bodyPr/>
        <a:lstStyle/>
        <a:p>
          <a:endParaRPr lang="en-US"/>
        </a:p>
      </dgm:t>
    </dgm:pt>
    <dgm:pt modelId="{9C2DD31A-E3D6-4665-8B66-5B960DE24B5C}">
      <dgm:prSet phldrT="[Text]"/>
      <dgm:spPr/>
      <dgm:t>
        <a:bodyPr/>
        <a:lstStyle/>
        <a:p>
          <a:r>
            <a:rPr lang="en-US" dirty="0"/>
            <a:t>Mapping</a:t>
          </a:r>
        </a:p>
      </dgm:t>
    </dgm:pt>
    <dgm:pt modelId="{504B1FDE-D810-456D-9339-A7D73CD9AB1C}" type="parTrans" cxnId="{0C70364F-0995-4C30-BA37-C3768A6E02B4}">
      <dgm:prSet/>
      <dgm:spPr/>
      <dgm:t>
        <a:bodyPr/>
        <a:lstStyle/>
        <a:p>
          <a:endParaRPr lang="en-US"/>
        </a:p>
      </dgm:t>
    </dgm:pt>
    <dgm:pt modelId="{0D623E35-063B-4BEB-B4B6-F475F0A09626}" type="sibTrans" cxnId="{0C70364F-0995-4C30-BA37-C3768A6E02B4}">
      <dgm:prSet/>
      <dgm:spPr/>
      <dgm:t>
        <a:bodyPr/>
        <a:lstStyle/>
        <a:p>
          <a:endParaRPr lang="en-US"/>
        </a:p>
      </dgm:t>
    </dgm:pt>
    <dgm:pt modelId="{FD34E9A7-693C-44CB-881E-6FB34C8FD0BF}">
      <dgm:prSet phldrT="[Text]" custT="1"/>
      <dgm:spPr/>
      <dgm:t>
        <a:bodyPr/>
        <a:lstStyle/>
        <a:p>
          <a:r>
            <a:rPr lang="en-US" sz="2000" dirty="0"/>
            <a:t>Networks</a:t>
          </a:r>
        </a:p>
      </dgm:t>
    </dgm:pt>
    <dgm:pt modelId="{4C581823-6D1A-4470-B6E6-880EE82927AE}" type="parTrans" cxnId="{984654B9-CD22-4625-94DC-EE7C5A9DBA0C}">
      <dgm:prSet/>
      <dgm:spPr/>
      <dgm:t>
        <a:bodyPr/>
        <a:lstStyle/>
        <a:p>
          <a:endParaRPr lang="en-US"/>
        </a:p>
      </dgm:t>
    </dgm:pt>
    <dgm:pt modelId="{1285F87B-1C06-4A8B-8E25-77C6138DB588}" type="sibTrans" cxnId="{984654B9-CD22-4625-94DC-EE7C5A9DBA0C}">
      <dgm:prSet/>
      <dgm:spPr/>
      <dgm:t>
        <a:bodyPr/>
        <a:lstStyle/>
        <a:p>
          <a:endParaRPr lang="en-US"/>
        </a:p>
      </dgm:t>
    </dgm:pt>
    <dgm:pt modelId="{4AFB6039-D20F-4EE9-BCF5-B82707ED2A1D}">
      <dgm:prSet phldrT="[Text]"/>
      <dgm:spPr/>
      <dgm:t>
        <a:bodyPr/>
        <a:lstStyle/>
        <a:p>
          <a:r>
            <a:rPr lang="en-US" dirty="0"/>
            <a:t>Consultations</a:t>
          </a:r>
        </a:p>
      </dgm:t>
    </dgm:pt>
    <dgm:pt modelId="{F293270E-A6B5-41E8-A3D7-B114871BEFD7}" type="parTrans" cxnId="{B09F3C83-F45E-4F1E-B5D0-B6C84A38F348}">
      <dgm:prSet/>
      <dgm:spPr/>
      <dgm:t>
        <a:bodyPr/>
        <a:lstStyle/>
        <a:p>
          <a:endParaRPr lang="en-US"/>
        </a:p>
      </dgm:t>
    </dgm:pt>
    <dgm:pt modelId="{721C7F37-4C68-4273-84F8-B09E1620E123}" type="sibTrans" cxnId="{B09F3C83-F45E-4F1E-B5D0-B6C84A38F348}">
      <dgm:prSet/>
      <dgm:spPr/>
      <dgm:t>
        <a:bodyPr/>
        <a:lstStyle/>
        <a:p>
          <a:endParaRPr lang="en-US"/>
        </a:p>
      </dgm:t>
    </dgm:pt>
    <dgm:pt modelId="{2160D3C5-0531-423C-B6CA-58C2EEA8EAF0}">
      <dgm:prSet phldrT="[Text]" custT="1"/>
      <dgm:spPr/>
      <dgm:t>
        <a:bodyPr/>
        <a:lstStyle/>
        <a:p>
          <a:r>
            <a:rPr lang="en-US" sz="1800" dirty="0"/>
            <a:t>4</a:t>
          </a:r>
          <a:r>
            <a:rPr lang="en-US" sz="1800" baseline="30000" dirty="0"/>
            <a:t>th</a:t>
          </a:r>
          <a:r>
            <a:rPr lang="en-US" sz="1800" dirty="0"/>
            <a:t>  Member State consultation completed</a:t>
          </a:r>
        </a:p>
      </dgm:t>
    </dgm:pt>
    <dgm:pt modelId="{D51E25CB-CA11-4100-9F71-7C7CB5FA3C1F}" type="parTrans" cxnId="{98C9ABCA-78C0-458B-9403-BC94ADC81BF5}">
      <dgm:prSet/>
      <dgm:spPr/>
      <dgm:t>
        <a:bodyPr/>
        <a:lstStyle/>
        <a:p>
          <a:endParaRPr lang="en-US"/>
        </a:p>
      </dgm:t>
    </dgm:pt>
    <dgm:pt modelId="{6E22285D-15D9-4484-A7DE-A94B86D1EEE0}" type="sibTrans" cxnId="{98C9ABCA-78C0-458B-9403-BC94ADC81BF5}">
      <dgm:prSet/>
      <dgm:spPr/>
      <dgm:t>
        <a:bodyPr/>
        <a:lstStyle/>
        <a:p>
          <a:endParaRPr lang="en-US"/>
        </a:p>
      </dgm:t>
    </dgm:pt>
    <dgm:pt modelId="{50FBDDBA-9256-4CC6-AB7F-D133256CB95F}">
      <dgm:prSet phldrT="[Text]" custT="1"/>
      <dgm:spPr/>
      <dgm:t>
        <a:bodyPr/>
        <a:lstStyle/>
        <a:p>
          <a:r>
            <a:rPr lang="en-US" sz="2000" dirty="0"/>
            <a:t>Online training materials to be developed in coordination with ICH, Ethics, Funders</a:t>
          </a:r>
        </a:p>
      </dgm:t>
    </dgm:pt>
    <dgm:pt modelId="{5AFE120F-5BDD-44FD-8BFC-487828EBE3A0}" type="parTrans" cxnId="{ACBA451D-49E4-4D20-82BB-45961954DCD7}">
      <dgm:prSet/>
      <dgm:spPr/>
      <dgm:t>
        <a:bodyPr/>
        <a:lstStyle/>
        <a:p>
          <a:endParaRPr lang="en-US"/>
        </a:p>
      </dgm:t>
    </dgm:pt>
    <dgm:pt modelId="{F1A169C7-F8AA-48BB-9783-60B4D1E683DF}" type="sibTrans" cxnId="{ACBA451D-49E4-4D20-82BB-45961954DCD7}">
      <dgm:prSet/>
      <dgm:spPr/>
      <dgm:t>
        <a:bodyPr/>
        <a:lstStyle/>
        <a:p>
          <a:endParaRPr lang="en-US"/>
        </a:p>
      </dgm:t>
    </dgm:pt>
    <dgm:pt modelId="{4D2B23E8-A677-4722-8C43-E768F13E5BF3}">
      <dgm:prSet phldrT="[Text]" custT="1"/>
      <dgm:spPr/>
      <dgm:t>
        <a:bodyPr/>
        <a:lstStyle/>
        <a:p>
          <a:r>
            <a:rPr lang="en-US" sz="2000" dirty="0"/>
            <a:t>Funding</a:t>
          </a:r>
        </a:p>
      </dgm:t>
    </dgm:pt>
    <dgm:pt modelId="{82BEE112-0B05-49C6-8B1A-6898D44C6A77}" type="parTrans" cxnId="{50F05D2A-870B-46EB-B439-206BA4E714D7}">
      <dgm:prSet/>
      <dgm:spPr/>
      <dgm:t>
        <a:bodyPr/>
        <a:lstStyle/>
        <a:p>
          <a:endParaRPr lang="en-US"/>
        </a:p>
      </dgm:t>
    </dgm:pt>
    <dgm:pt modelId="{D5D39259-6BB6-4E5C-B7A0-34BDE180480D}" type="sibTrans" cxnId="{50F05D2A-870B-46EB-B439-206BA4E714D7}">
      <dgm:prSet/>
      <dgm:spPr/>
      <dgm:t>
        <a:bodyPr/>
        <a:lstStyle/>
        <a:p>
          <a:endParaRPr lang="en-US"/>
        </a:p>
      </dgm:t>
    </dgm:pt>
    <dgm:pt modelId="{8E453263-3C2A-4868-87A6-E0656F7079C5}">
      <dgm:prSet phldrT="[Text]" custT="1"/>
      <dgm:spPr/>
      <dgm:t>
        <a:bodyPr/>
        <a:lstStyle/>
        <a:p>
          <a:r>
            <a:rPr lang="en-US" sz="2000" dirty="0"/>
            <a:t>National Regulations</a:t>
          </a:r>
        </a:p>
      </dgm:t>
    </dgm:pt>
    <dgm:pt modelId="{386D9727-19EE-4137-8748-18D5195DD778}" type="parTrans" cxnId="{5311421F-2592-4FF1-A6FC-5B0D0E9DBB56}">
      <dgm:prSet/>
      <dgm:spPr/>
      <dgm:t>
        <a:bodyPr/>
        <a:lstStyle/>
        <a:p>
          <a:endParaRPr lang="en-US"/>
        </a:p>
      </dgm:t>
    </dgm:pt>
    <dgm:pt modelId="{4957BD5E-24BC-4017-96A9-50FFCBB1F62C}" type="sibTrans" cxnId="{5311421F-2592-4FF1-A6FC-5B0D0E9DBB56}">
      <dgm:prSet/>
      <dgm:spPr/>
      <dgm:t>
        <a:bodyPr/>
        <a:lstStyle/>
        <a:p>
          <a:endParaRPr lang="en-US"/>
        </a:p>
      </dgm:t>
    </dgm:pt>
    <dgm:pt modelId="{0FF9907F-5193-414F-978E-3B2AC382F95E}">
      <dgm:prSet phldrT="[Text]"/>
      <dgm:spPr/>
      <dgm:t>
        <a:bodyPr/>
        <a:lstStyle/>
        <a:p>
          <a:endParaRPr lang="en-US" sz="1500" dirty="0"/>
        </a:p>
      </dgm:t>
    </dgm:pt>
    <dgm:pt modelId="{677F5D58-F6F0-400A-AE2D-B1C70B48CB41}" type="parTrans" cxnId="{29AB6D02-7CE8-4376-A07A-383085BF9AF8}">
      <dgm:prSet/>
      <dgm:spPr/>
      <dgm:t>
        <a:bodyPr/>
        <a:lstStyle/>
        <a:p>
          <a:endParaRPr lang="en-US"/>
        </a:p>
      </dgm:t>
    </dgm:pt>
    <dgm:pt modelId="{BEB96C1A-EE1F-44D9-9A76-30E010042D52}" type="sibTrans" cxnId="{29AB6D02-7CE8-4376-A07A-383085BF9AF8}">
      <dgm:prSet/>
      <dgm:spPr/>
      <dgm:t>
        <a:bodyPr/>
        <a:lstStyle/>
        <a:p>
          <a:endParaRPr lang="en-US"/>
        </a:p>
      </dgm:t>
    </dgm:pt>
    <dgm:pt modelId="{92A98D2A-D424-4E44-B3E2-34649E4CFE25}">
      <dgm:prSet phldrT="[Text]"/>
      <dgm:spPr/>
      <dgm:t>
        <a:bodyPr/>
        <a:lstStyle/>
        <a:p>
          <a:endParaRPr lang="en-US" sz="1500" dirty="0"/>
        </a:p>
      </dgm:t>
    </dgm:pt>
    <dgm:pt modelId="{A4395A30-A1CF-4777-8863-2F83607B1D9F}" type="parTrans" cxnId="{7D7FC57C-8BD5-4152-8519-35C70944C208}">
      <dgm:prSet/>
      <dgm:spPr/>
      <dgm:t>
        <a:bodyPr/>
        <a:lstStyle/>
        <a:p>
          <a:endParaRPr lang="en-US"/>
        </a:p>
      </dgm:t>
    </dgm:pt>
    <dgm:pt modelId="{1083BCF5-479A-475F-9E62-13D7E027EF0A}" type="sibTrans" cxnId="{7D7FC57C-8BD5-4152-8519-35C70944C208}">
      <dgm:prSet/>
      <dgm:spPr/>
      <dgm:t>
        <a:bodyPr/>
        <a:lstStyle/>
        <a:p>
          <a:endParaRPr lang="en-US"/>
        </a:p>
      </dgm:t>
    </dgm:pt>
    <dgm:pt modelId="{1BD3F80B-4F1A-4766-9F8D-CD91FC07DE72}">
      <dgm:prSet phldrT="[Text]" custT="1"/>
      <dgm:spPr/>
      <dgm:t>
        <a:bodyPr/>
        <a:lstStyle/>
        <a:p>
          <a:r>
            <a:rPr lang="en-US" sz="2000" dirty="0"/>
            <a:t>Sites/institutional capacities</a:t>
          </a:r>
        </a:p>
      </dgm:t>
    </dgm:pt>
    <dgm:pt modelId="{417F0AF7-1E9B-4D06-9100-1F6B8CFC5A75}" type="parTrans" cxnId="{AD3C4170-B4CC-4D3E-913C-B924C7B1AF37}">
      <dgm:prSet/>
      <dgm:spPr/>
      <dgm:t>
        <a:bodyPr/>
        <a:lstStyle/>
        <a:p>
          <a:endParaRPr lang="en-US"/>
        </a:p>
      </dgm:t>
    </dgm:pt>
    <dgm:pt modelId="{0BD2CF99-A937-4420-B574-8C2F0A24871A}" type="sibTrans" cxnId="{AD3C4170-B4CC-4D3E-913C-B924C7B1AF37}">
      <dgm:prSet/>
      <dgm:spPr/>
      <dgm:t>
        <a:bodyPr/>
        <a:lstStyle/>
        <a:p>
          <a:endParaRPr lang="en-US"/>
        </a:p>
      </dgm:t>
    </dgm:pt>
    <dgm:pt modelId="{3A2B303E-F6A9-43DF-ADE8-AF4ED7C68210}">
      <dgm:prSet phldrT="[Text]" custT="1"/>
      <dgm:spPr/>
      <dgm:t>
        <a:bodyPr/>
        <a:lstStyle/>
        <a:p>
          <a:r>
            <a:rPr lang="en-US" sz="1800" dirty="0"/>
            <a:t>Regional consultations: </a:t>
          </a:r>
          <a:r>
            <a:rPr lang="en-US" sz="1600" dirty="0"/>
            <a:t>PAHO Oct 4-5, AFRO Oct 17-18, SEARO, Nov 10-11, EMRO Nov 14-15</a:t>
          </a:r>
        </a:p>
      </dgm:t>
    </dgm:pt>
    <dgm:pt modelId="{AC1A26E5-4D9F-48E4-BB85-1A45B69D47E6}" type="parTrans" cxnId="{7B2157A6-F8D2-4ADD-B362-2A93AFDBB385}">
      <dgm:prSet/>
      <dgm:spPr/>
      <dgm:t>
        <a:bodyPr/>
        <a:lstStyle/>
        <a:p>
          <a:endParaRPr lang="en-US"/>
        </a:p>
      </dgm:t>
    </dgm:pt>
    <dgm:pt modelId="{21C27390-9EEC-4BEC-A3F2-F01BF847CCCF}" type="sibTrans" cxnId="{7B2157A6-F8D2-4ADD-B362-2A93AFDBB385}">
      <dgm:prSet/>
      <dgm:spPr/>
      <dgm:t>
        <a:bodyPr/>
        <a:lstStyle/>
        <a:p>
          <a:endParaRPr lang="en-US"/>
        </a:p>
      </dgm:t>
    </dgm:pt>
    <dgm:pt modelId="{F44FDE7E-4F5D-45EC-95E0-5F34C359B63E}">
      <dgm:prSet phldrT="[Text]" custT="1"/>
      <dgm:spPr/>
      <dgm:t>
        <a:bodyPr/>
        <a:lstStyle/>
        <a:p>
          <a:r>
            <a:rPr lang="en-US" sz="1800" dirty="0"/>
            <a:t>Global forum meeting with stakeholders </a:t>
          </a:r>
          <a:r>
            <a:rPr lang="en-US" sz="1600" dirty="0"/>
            <a:t>(clinical researchers, ethics, regulatory, funders, patient, community organizations, private sector)</a:t>
          </a:r>
        </a:p>
      </dgm:t>
    </dgm:pt>
    <dgm:pt modelId="{AD7BA625-B946-4DF3-B5F6-D6F1767ED048}" type="parTrans" cxnId="{CA8B7CD0-15B4-4E26-9CBA-3F6E24FEDA8D}">
      <dgm:prSet/>
      <dgm:spPr/>
      <dgm:t>
        <a:bodyPr/>
        <a:lstStyle/>
        <a:p>
          <a:endParaRPr lang="en-US"/>
        </a:p>
      </dgm:t>
    </dgm:pt>
    <dgm:pt modelId="{85FE17AC-504E-4FFD-82E3-05DDEF8578DA}" type="sibTrans" cxnId="{CA8B7CD0-15B4-4E26-9CBA-3F6E24FEDA8D}">
      <dgm:prSet/>
      <dgm:spPr/>
      <dgm:t>
        <a:bodyPr/>
        <a:lstStyle/>
        <a:p>
          <a:endParaRPr lang="en-US"/>
        </a:p>
      </dgm:t>
    </dgm:pt>
    <dgm:pt modelId="{A84197EE-1275-4403-A9FB-3E39661726EF}">
      <dgm:prSet phldrT="[Text]" custT="1"/>
      <dgm:spPr/>
      <dgm:t>
        <a:bodyPr/>
        <a:lstStyle/>
        <a:p>
          <a:r>
            <a:rPr lang="en-US" sz="2000" dirty="0"/>
            <a:t>Public consultation July to September</a:t>
          </a:r>
        </a:p>
      </dgm:t>
    </dgm:pt>
    <dgm:pt modelId="{CE6EF2C2-C382-447A-8F69-D35EB6543EE3}" type="parTrans" cxnId="{5B70F5B6-3D49-425A-A7EA-870C94AEED0F}">
      <dgm:prSet/>
      <dgm:spPr/>
      <dgm:t>
        <a:bodyPr/>
        <a:lstStyle/>
        <a:p>
          <a:endParaRPr lang="en-US"/>
        </a:p>
      </dgm:t>
    </dgm:pt>
    <dgm:pt modelId="{45B93ABE-3906-404E-93DD-7E0CCFFFCDDB}" type="sibTrans" cxnId="{5B70F5B6-3D49-425A-A7EA-870C94AEED0F}">
      <dgm:prSet/>
      <dgm:spPr/>
      <dgm:t>
        <a:bodyPr/>
        <a:lstStyle/>
        <a:p>
          <a:endParaRPr lang="en-US"/>
        </a:p>
      </dgm:t>
    </dgm:pt>
    <dgm:pt modelId="{A5348B45-7296-41F3-AD97-8A9AE5563033}">
      <dgm:prSet phldrT="[Text]" custT="1"/>
      <dgm:spPr/>
      <dgm:t>
        <a:bodyPr/>
        <a:lstStyle/>
        <a:p>
          <a:r>
            <a:rPr lang="en-US" sz="2000" dirty="0"/>
            <a:t>Likely to be finalized in 2024</a:t>
          </a:r>
        </a:p>
      </dgm:t>
    </dgm:pt>
    <dgm:pt modelId="{681C0E7C-6C6E-4217-A26F-7F090A78CF0E}" type="parTrans" cxnId="{9B2BD44E-ABE2-49AB-B1A6-C8ECA8EFEBDE}">
      <dgm:prSet/>
      <dgm:spPr/>
      <dgm:t>
        <a:bodyPr/>
        <a:lstStyle/>
        <a:p>
          <a:endParaRPr lang="en-US"/>
        </a:p>
      </dgm:t>
    </dgm:pt>
    <dgm:pt modelId="{46C4D6DB-B884-4DF9-9587-DFC5F8FED67F}" type="sibTrans" cxnId="{9B2BD44E-ABE2-49AB-B1A6-C8ECA8EFEBDE}">
      <dgm:prSet/>
      <dgm:spPr/>
      <dgm:t>
        <a:bodyPr/>
        <a:lstStyle/>
        <a:p>
          <a:endParaRPr lang="en-US"/>
        </a:p>
      </dgm:t>
    </dgm:pt>
    <dgm:pt modelId="{E773435D-A6F5-464F-BA2B-30AA9897F6EE}">
      <dgm:prSet phldrT="[Text]" custT="1"/>
      <dgm:spPr/>
      <dgm:t>
        <a:bodyPr/>
        <a:lstStyle/>
        <a:p>
          <a:r>
            <a:rPr lang="en-US" sz="1800" dirty="0"/>
            <a:t>Private sector consultations: </a:t>
          </a:r>
          <a:r>
            <a:rPr lang="en-US" sz="1600" dirty="0"/>
            <a:t>Geneva, May &amp; Kigali October 2023</a:t>
          </a:r>
        </a:p>
      </dgm:t>
    </dgm:pt>
    <dgm:pt modelId="{5A9983E9-E708-014B-9288-1992F8BF2C82}" type="parTrans" cxnId="{5CE47277-E603-1041-B706-554EE538DD83}">
      <dgm:prSet/>
      <dgm:spPr/>
      <dgm:t>
        <a:bodyPr/>
        <a:lstStyle/>
        <a:p>
          <a:endParaRPr lang="en-US"/>
        </a:p>
      </dgm:t>
    </dgm:pt>
    <dgm:pt modelId="{F7DEA8C8-FF52-1F44-8FD9-7B8F2D7C1CBE}" type="sibTrans" cxnId="{5CE47277-E603-1041-B706-554EE538DD83}">
      <dgm:prSet/>
      <dgm:spPr/>
      <dgm:t>
        <a:bodyPr/>
        <a:lstStyle/>
        <a:p>
          <a:endParaRPr lang="en-US"/>
        </a:p>
      </dgm:t>
    </dgm:pt>
    <dgm:pt modelId="{EB2031D8-C5C7-4EAA-9263-6BEF741B5B4A}" type="pres">
      <dgm:prSet presAssocID="{AF005212-1837-49A2-9AC7-05AD53D09A38}" presName="linearFlow" presStyleCnt="0">
        <dgm:presLayoutVars>
          <dgm:dir/>
          <dgm:animLvl val="lvl"/>
          <dgm:resizeHandles/>
        </dgm:presLayoutVars>
      </dgm:prSet>
      <dgm:spPr/>
    </dgm:pt>
    <dgm:pt modelId="{C97290F5-D0BC-4DE8-B7A5-871B304B6533}" type="pres">
      <dgm:prSet presAssocID="{DA1128A2-3301-4E95-A908-006B1710EA01}" presName="compositeNode" presStyleCnt="0">
        <dgm:presLayoutVars>
          <dgm:bulletEnabled val="1"/>
        </dgm:presLayoutVars>
      </dgm:prSet>
      <dgm:spPr/>
    </dgm:pt>
    <dgm:pt modelId="{732978AA-11BC-4947-B1FA-1F6B2BA18AC2}" type="pres">
      <dgm:prSet presAssocID="{DA1128A2-3301-4E95-A908-006B1710EA01}" presName="image" presStyleLbl="fgImgPlace1" presStyleIdx="0" presStyleCnt="3"/>
      <dgm:spPr/>
    </dgm:pt>
    <dgm:pt modelId="{9D541E73-5D58-436B-AB3E-74D255160F21}" type="pres">
      <dgm:prSet presAssocID="{DA1128A2-3301-4E95-A908-006B1710EA01}" presName="childNode" presStyleLbl="node1" presStyleIdx="0" presStyleCnt="3">
        <dgm:presLayoutVars>
          <dgm:bulletEnabled val="1"/>
        </dgm:presLayoutVars>
      </dgm:prSet>
      <dgm:spPr/>
    </dgm:pt>
    <dgm:pt modelId="{3AB2052F-FD0D-4D98-990F-50BECAA05C4D}" type="pres">
      <dgm:prSet presAssocID="{DA1128A2-3301-4E95-A908-006B1710EA01}" presName="parentNode" presStyleLbl="revTx" presStyleIdx="0" presStyleCnt="3">
        <dgm:presLayoutVars>
          <dgm:chMax val="0"/>
          <dgm:bulletEnabled val="1"/>
        </dgm:presLayoutVars>
      </dgm:prSet>
      <dgm:spPr/>
    </dgm:pt>
    <dgm:pt modelId="{118941BB-C425-484E-A957-6541189E5C62}" type="pres">
      <dgm:prSet presAssocID="{85BB85A8-71D5-43C2-9BD8-52DB97C727A6}" presName="sibTrans" presStyleCnt="0"/>
      <dgm:spPr/>
    </dgm:pt>
    <dgm:pt modelId="{584367CF-C4EE-4E7F-85AB-D7B4422B9932}" type="pres">
      <dgm:prSet presAssocID="{9C2DD31A-E3D6-4665-8B66-5B960DE24B5C}" presName="compositeNode" presStyleCnt="0">
        <dgm:presLayoutVars>
          <dgm:bulletEnabled val="1"/>
        </dgm:presLayoutVars>
      </dgm:prSet>
      <dgm:spPr/>
    </dgm:pt>
    <dgm:pt modelId="{0AC67784-2DEC-4EC8-91F5-15AB7332D5C7}" type="pres">
      <dgm:prSet presAssocID="{9C2DD31A-E3D6-4665-8B66-5B960DE24B5C}" presName="image" presStyleLbl="fgImgPlace1" presStyleIdx="1" presStyleCnt="3"/>
      <dgm:spPr/>
    </dgm:pt>
    <dgm:pt modelId="{540C41B9-68B6-4615-A4F3-346ED613BED8}" type="pres">
      <dgm:prSet presAssocID="{9C2DD31A-E3D6-4665-8B66-5B960DE24B5C}" presName="childNode" presStyleLbl="node1" presStyleIdx="1" presStyleCnt="3">
        <dgm:presLayoutVars>
          <dgm:bulletEnabled val="1"/>
        </dgm:presLayoutVars>
      </dgm:prSet>
      <dgm:spPr/>
    </dgm:pt>
    <dgm:pt modelId="{89A4B869-5E6B-408B-A97E-ACE8B37F67C6}" type="pres">
      <dgm:prSet presAssocID="{9C2DD31A-E3D6-4665-8B66-5B960DE24B5C}" presName="parentNode" presStyleLbl="revTx" presStyleIdx="1" presStyleCnt="3">
        <dgm:presLayoutVars>
          <dgm:chMax val="0"/>
          <dgm:bulletEnabled val="1"/>
        </dgm:presLayoutVars>
      </dgm:prSet>
      <dgm:spPr/>
    </dgm:pt>
    <dgm:pt modelId="{265D024B-D29D-4D65-ADDC-08AAF5D2FBA8}" type="pres">
      <dgm:prSet presAssocID="{0D623E35-063B-4BEB-B4B6-F475F0A09626}" presName="sibTrans" presStyleCnt="0"/>
      <dgm:spPr/>
    </dgm:pt>
    <dgm:pt modelId="{ED89F9D4-0F1B-4723-9EA5-8E6E3C6BC6ED}" type="pres">
      <dgm:prSet presAssocID="{4AFB6039-D20F-4EE9-BCF5-B82707ED2A1D}" presName="compositeNode" presStyleCnt="0">
        <dgm:presLayoutVars>
          <dgm:bulletEnabled val="1"/>
        </dgm:presLayoutVars>
      </dgm:prSet>
      <dgm:spPr/>
    </dgm:pt>
    <dgm:pt modelId="{6849E497-F411-4C75-A1C5-A04C73C1C612}" type="pres">
      <dgm:prSet presAssocID="{4AFB6039-D20F-4EE9-BCF5-B82707ED2A1D}" presName="image" presStyleLbl="fgImgPlace1" presStyleIdx="2" presStyleCnt="3"/>
      <dgm:spPr/>
    </dgm:pt>
    <dgm:pt modelId="{C5070A19-874C-44A7-87EE-514F145A3445}" type="pres">
      <dgm:prSet presAssocID="{4AFB6039-D20F-4EE9-BCF5-B82707ED2A1D}" presName="childNode" presStyleLbl="node1" presStyleIdx="2" presStyleCnt="3" custScaleX="105050" custLinFactNeighborY="-2160">
        <dgm:presLayoutVars>
          <dgm:bulletEnabled val="1"/>
        </dgm:presLayoutVars>
      </dgm:prSet>
      <dgm:spPr/>
    </dgm:pt>
    <dgm:pt modelId="{FE214089-F23D-49DB-B076-A9FFB604B52A}" type="pres">
      <dgm:prSet presAssocID="{4AFB6039-D20F-4EE9-BCF5-B82707ED2A1D}" presName="parentNode" presStyleLbl="revTx" presStyleIdx="2" presStyleCnt="3">
        <dgm:presLayoutVars>
          <dgm:chMax val="0"/>
          <dgm:bulletEnabled val="1"/>
        </dgm:presLayoutVars>
      </dgm:prSet>
      <dgm:spPr/>
    </dgm:pt>
  </dgm:ptLst>
  <dgm:cxnLst>
    <dgm:cxn modelId="{29AB6D02-7CE8-4376-A07A-383085BF9AF8}" srcId="{9C2DD31A-E3D6-4665-8B66-5B960DE24B5C}" destId="{0FF9907F-5193-414F-978E-3B2AC382F95E}" srcOrd="4" destOrd="0" parTransId="{677F5D58-F6F0-400A-AE2D-B1C70B48CB41}" sibTransId="{BEB96C1A-EE1F-44D9-9A76-30E010042D52}"/>
    <dgm:cxn modelId="{72B32F12-3254-A14C-AF11-A44308E1609A}" type="presOf" srcId="{E773435D-A6F5-464F-BA2B-30AA9897F6EE}" destId="{C5070A19-874C-44A7-87EE-514F145A3445}" srcOrd="0" destOrd="1" presId="urn:microsoft.com/office/officeart/2005/8/layout/hList2"/>
    <dgm:cxn modelId="{39B87515-7150-49DA-BFF7-38160CEF3BCA}" type="presOf" srcId="{F44FDE7E-4F5D-45EC-95E0-5F34C359B63E}" destId="{C5070A19-874C-44A7-87EE-514F145A3445}" srcOrd="0" destOrd="3" presId="urn:microsoft.com/office/officeart/2005/8/layout/hList2"/>
    <dgm:cxn modelId="{ACBA451D-49E4-4D20-82BB-45961954DCD7}" srcId="{DA1128A2-3301-4E95-A908-006B1710EA01}" destId="{50FBDDBA-9256-4CC6-AB7F-D133256CB95F}" srcOrd="4" destOrd="0" parTransId="{5AFE120F-5BDD-44FD-8BFC-487828EBE3A0}" sibTransId="{F1A169C7-F8AA-48BB-9783-60B4D1E683DF}"/>
    <dgm:cxn modelId="{5311421F-2592-4FF1-A6FC-5B0D0E9DBB56}" srcId="{9C2DD31A-E3D6-4665-8B66-5B960DE24B5C}" destId="{8E453263-3C2A-4868-87A6-E0656F7079C5}" srcOrd="2" destOrd="0" parTransId="{386D9727-19EE-4137-8748-18D5195DD778}" sibTransId="{4957BD5E-24BC-4017-96A9-50FFCBB1F62C}"/>
    <dgm:cxn modelId="{F2272820-0F9B-467B-8A2C-1094A99F5B0C}" srcId="{DA1128A2-3301-4E95-A908-006B1710EA01}" destId="{27C36CCD-1CA6-46AC-8508-148661BF58A9}" srcOrd="1" destOrd="0" parTransId="{A64BE51B-5946-4383-B71D-9B34B7A67B5D}" sibTransId="{F8DCE519-002F-4518-8C08-67F8F99303FE}"/>
    <dgm:cxn modelId="{1CA98723-FEA5-46A6-A5A2-D1927EF468F4}" type="presOf" srcId="{27C36CCD-1CA6-46AC-8508-148661BF58A9}" destId="{9D541E73-5D58-436B-AB3E-74D255160F21}" srcOrd="0" destOrd="1" presId="urn:microsoft.com/office/officeart/2005/8/layout/hList2"/>
    <dgm:cxn modelId="{208A3724-91FD-4480-9D11-3C6EC65A587D}" type="presOf" srcId="{4D2B23E8-A677-4722-8C43-E768F13E5BF3}" destId="{540C41B9-68B6-4615-A4F3-346ED613BED8}" srcOrd="0" destOrd="1" presId="urn:microsoft.com/office/officeart/2005/8/layout/hList2"/>
    <dgm:cxn modelId="{50F05D2A-870B-46EB-B439-206BA4E714D7}" srcId="{9C2DD31A-E3D6-4665-8B66-5B960DE24B5C}" destId="{4D2B23E8-A677-4722-8C43-E768F13E5BF3}" srcOrd="1" destOrd="0" parTransId="{82BEE112-0B05-49C6-8B1A-6898D44C6A77}" sibTransId="{D5D39259-6BB6-4E5C-B7A0-34BDE180480D}"/>
    <dgm:cxn modelId="{0C4D446A-C366-4D8D-9CE3-DBDF28756119}" type="presOf" srcId="{FD34E9A7-693C-44CB-881E-6FB34C8FD0BF}" destId="{540C41B9-68B6-4615-A4F3-346ED613BED8}" srcOrd="0" destOrd="0" presId="urn:microsoft.com/office/officeart/2005/8/layout/hList2"/>
    <dgm:cxn modelId="{9B2BD44E-ABE2-49AB-B1A6-C8ECA8EFEBDE}" srcId="{DA1128A2-3301-4E95-A908-006B1710EA01}" destId="{A5348B45-7296-41F3-AD97-8A9AE5563033}" srcOrd="3" destOrd="0" parTransId="{681C0E7C-6C6E-4217-A26F-7F090A78CF0E}" sibTransId="{46C4D6DB-B884-4DF9-9587-DFC5F8FED67F}"/>
    <dgm:cxn modelId="{0C70364F-0995-4C30-BA37-C3768A6E02B4}" srcId="{AF005212-1837-49A2-9AC7-05AD53D09A38}" destId="{9C2DD31A-E3D6-4665-8B66-5B960DE24B5C}" srcOrd="1" destOrd="0" parTransId="{504B1FDE-D810-456D-9339-A7D73CD9AB1C}" sibTransId="{0D623E35-063B-4BEB-B4B6-F475F0A09626}"/>
    <dgm:cxn modelId="{6396E94F-586F-403E-A767-7D046E4730A5}" type="presOf" srcId="{3A2B303E-F6A9-43DF-ADE8-AF4ED7C68210}" destId="{C5070A19-874C-44A7-87EE-514F145A3445}" srcOrd="0" destOrd="2" presId="urn:microsoft.com/office/officeart/2005/8/layout/hList2"/>
    <dgm:cxn modelId="{AD3C4170-B4CC-4D3E-913C-B924C7B1AF37}" srcId="{9C2DD31A-E3D6-4665-8B66-5B960DE24B5C}" destId="{1BD3F80B-4F1A-4766-9F8D-CD91FC07DE72}" srcOrd="3" destOrd="0" parTransId="{417F0AF7-1E9B-4D06-9100-1F6B8CFC5A75}" sibTransId="{0BD2CF99-A937-4420-B574-8C2F0A24871A}"/>
    <dgm:cxn modelId="{7A805B74-E1BA-48F6-8773-6A37E679D337}" srcId="{AF005212-1837-49A2-9AC7-05AD53D09A38}" destId="{DA1128A2-3301-4E95-A908-006B1710EA01}" srcOrd="0" destOrd="0" parTransId="{39BA1EF7-AEE5-4BB6-974B-B853B2FE40C3}" sibTransId="{85BB85A8-71D5-43C2-9BD8-52DB97C727A6}"/>
    <dgm:cxn modelId="{5CE47277-E603-1041-B706-554EE538DD83}" srcId="{4AFB6039-D20F-4EE9-BCF5-B82707ED2A1D}" destId="{E773435D-A6F5-464F-BA2B-30AA9897F6EE}" srcOrd="1" destOrd="0" parTransId="{5A9983E9-E708-014B-9288-1992F8BF2C82}" sibTransId="{F7DEA8C8-FF52-1F44-8FD9-7B8F2D7C1CBE}"/>
    <dgm:cxn modelId="{E5066D58-531D-4661-8280-90A542C1BA4B}" type="presOf" srcId="{92A98D2A-D424-4E44-B3E2-34649E4CFE25}" destId="{9D541E73-5D58-436B-AB3E-74D255160F21}" srcOrd="0" destOrd="0" presId="urn:microsoft.com/office/officeart/2005/8/layout/hList2"/>
    <dgm:cxn modelId="{2426177A-97FC-4D23-8CEB-7366EC378467}" type="presOf" srcId="{8E453263-3C2A-4868-87A6-E0656F7079C5}" destId="{540C41B9-68B6-4615-A4F3-346ED613BED8}" srcOrd="0" destOrd="2" presId="urn:microsoft.com/office/officeart/2005/8/layout/hList2"/>
    <dgm:cxn modelId="{7D7FC57C-8BD5-4152-8519-35C70944C208}" srcId="{DA1128A2-3301-4E95-A908-006B1710EA01}" destId="{92A98D2A-D424-4E44-B3E2-34649E4CFE25}" srcOrd="0" destOrd="0" parTransId="{A4395A30-A1CF-4777-8863-2F83607B1D9F}" sibTransId="{1083BCF5-479A-475F-9E62-13D7E027EF0A}"/>
    <dgm:cxn modelId="{B09F3C83-F45E-4F1E-B5D0-B6C84A38F348}" srcId="{AF005212-1837-49A2-9AC7-05AD53D09A38}" destId="{4AFB6039-D20F-4EE9-BCF5-B82707ED2A1D}" srcOrd="2" destOrd="0" parTransId="{F293270E-A6B5-41E8-A3D7-B114871BEFD7}" sibTransId="{721C7F37-4C68-4273-84F8-B09E1620E123}"/>
    <dgm:cxn modelId="{136F1488-3FA2-4D87-BCBC-8A9B6F37FC63}" type="presOf" srcId="{50FBDDBA-9256-4CC6-AB7F-D133256CB95F}" destId="{9D541E73-5D58-436B-AB3E-74D255160F21}" srcOrd="0" destOrd="4" presId="urn:microsoft.com/office/officeart/2005/8/layout/hList2"/>
    <dgm:cxn modelId="{0A6BA98A-8D37-4958-8892-EB38B119A925}" type="presOf" srcId="{AF005212-1837-49A2-9AC7-05AD53D09A38}" destId="{EB2031D8-C5C7-4EAA-9263-6BEF741B5B4A}" srcOrd="0" destOrd="0" presId="urn:microsoft.com/office/officeart/2005/8/layout/hList2"/>
    <dgm:cxn modelId="{DA7FD592-D789-42CD-9D3F-B824AC598276}" type="presOf" srcId="{4AFB6039-D20F-4EE9-BCF5-B82707ED2A1D}" destId="{FE214089-F23D-49DB-B076-A9FFB604B52A}" srcOrd="0" destOrd="0" presId="urn:microsoft.com/office/officeart/2005/8/layout/hList2"/>
    <dgm:cxn modelId="{3F62ED9D-F7E9-4D8F-A196-BB0E7D41019B}" type="presOf" srcId="{A5348B45-7296-41F3-AD97-8A9AE5563033}" destId="{9D541E73-5D58-436B-AB3E-74D255160F21}" srcOrd="0" destOrd="3" presId="urn:microsoft.com/office/officeart/2005/8/layout/hList2"/>
    <dgm:cxn modelId="{7B2157A6-F8D2-4ADD-B362-2A93AFDBB385}" srcId="{4AFB6039-D20F-4EE9-BCF5-B82707ED2A1D}" destId="{3A2B303E-F6A9-43DF-ADE8-AF4ED7C68210}" srcOrd="2" destOrd="0" parTransId="{AC1A26E5-4D9F-48E4-BB85-1A45B69D47E6}" sibTransId="{21C27390-9EEC-4BEC-A3F2-F01BF847CCCF}"/>
    <dgm:cxn modelId="{209562B3-AF2E-41AC-8793-B28ADF761EF8}" type="presOf" srcId="{0FF9907F-5193-414F-978E-3B2AC382F95E}" destId="{540C41B9-68B6-4615-A4F3-346ED613BED8}" srcOrd="0" destOrd="4" presId="urn:microsoft.com/office/officeart/2005/8/layout/hList2"/>
    <dgm:cxn modelId="{5B70F5B6-3D49-425A-A7EA-870C94AEED0F}" srcId="{DA1128A2-3301-4E95-A908-006B1710EA01}" destId="{A84197EE-1275-4403-A9FB-3E39661726EF}" srcOrd="2" destOrd="0" parTransId="{CE6EF2C2-C382-447A-8F69-D35EB6543EE3}" sibTransId="{45B93ABE-3906-404E-93DD-7E0CCFFFCDDB}"/>
    <dgm:cxn modelId="{E90BE6B8-FCF4-4991-BCE2-4A860E292049}" type="presOf" srcId="{A84197EE-1275-4403-A9FB-3E39661726EF}" destId="{9D541E73-5D58-436B-AB3E-74D255160F21}" srcOrd="0" destOrd="2" presId="urn:microsoft.com/office/officeart/2005/8/layout/hList2"/>
    <dgm:cxn modelId="{984654B9-CD22-4625-94DC-EE7C5A9DBA0C}" srcId="{9C2DD31A-E3D6-4665-8B66-5B960DE24B5C}" destId="{FD34E9A7-693C-44CB-881E-6FB34C8FD0BF}" srcOrd="0" destOrd="0" parTransId="{4C581823-6D1A-4470-B6E6-880EE82927AE}" sibTransId="{1285F87B-1C06-4A8B-8E25-77C6138DB588}"/>
    <dgm:cxn modelId="{7DE1FBC4-1D85-4A0B-A78A-BECABE1DC684}" type="presOf" srcId="{2160D3C5-0531-423C-B6CA-58C2EEA8EAF0}" destId="{C5070A19-874C-44A7-87EE-514F145A3445}" srcOrd="0" destOrd="0" presId="urn:microsoft.com/office/officeart/2005/8/layout/hList2"/>
    <dgm:cxn modelId="{B4768CC5-2E23-437E-B367-2E05B3D4CD8C}" type="presOf" srcId="{DA1128A2-3301-4E95-A908-006B1710EA01}" destId="{3AB2052F-FD0D-4D98-990F-50BECAA05C4D}" srcOrd="0" destOrd="0" presId="urn:microsoft.com/office/officeart/2005/8/layout/hList2"/>
    <dgm:cxn modelId="{98C9ABCA-78C0-458B-9403-BC94ADC81BF5}" srcId="{4AFB6039-D20F-4EE9-BCF5-B82707ED2A1D}" destId="{2160D3C5-0531-423C-B6CA-58C2EEA8EAF0}" srcOrd="0" destOrd="0" parTransId="{D51E25CB-CA11-4100-9F71-7C7CB5FA3C1F}" sibTransId="{6E22285D-15D9-4484-A7DE-A94B86D1EEE0}"/>
    <dgm:cxn modelId="{CA8B7CD0-15B4-4E26-9CBA-3F6E24FEDA8D}" srcId="{4AFB6039-D20F-4EE9-BCF5-B82707ED2A1D}" destId="{F44FDE7E-4F5D-45EC-95E0-5F34C359B63E}" srcOrd="3" destOrd="0" parTransId="{AD7BA625-B946-4DF3-B5F6-D6F1767ED048}" sibTransId="{85FE17AC-504E-4FFD-82E3-05DDEF8578DA}"/>
    <dgm:cxn modelId="{BBC9A9EE-7967-45EF-AC51-299ACA42446C}" type="presOf" srcId="{1BD3F80B-4F1A-4766-9F8D-CD91FC07DE72}" destId="{540C41B9-68B6-4615-A4F3-346ED613BED8}" srcOrd="0" destOrd="3" presId="urn:microsoft.com/office/officeart/2005/8/layout/hList2"/>
    <dgm:cxn modelId="{CCF989F1-A8A4-4EF2-B5D1-9BBA2556E887}" type="presOf" srcId="{9C2DD31A-E3D6-4665-8B66-5B960DE24B5C}" destId="{89A4B869-5E6B-408B-A97E-ACE8B37F67C6}" srcOrd="0" destOrd="0" presId="urn:microsoft.com/office/officeart/2005/8/layout/hList2"/>
    <dgm:cxn modelId="{FF0E7DD2-1E1E-41CF-8FE2-2F31963FB460}" type="presParOf" srcId="{EB2031D8-C5C7-4EAA-9263-6BEF741B5B4A}" destId="{C97290F5-D0BC-4DE8-B7A5-871B304B6533}" srcOrd="0" destOrd="0" presId="urn:microsoft.com/office/officeart/2005/8/layout/hList2"/>
    <dgm:cxn modelId="{B9987D61-DEDD-4309-B686-9D6605F3D618}" type="presParOf" srcId="{C97290F5-D0BC-4DE8-B7A5-871B304B6533}" destId="{732978AA-11BC-4947-B1FA-1F6B2BA18AC2}" srcOrd="0" destOrd="0" presId="urn:microsoft.com/office/officeart/2005/8/layout/hList2"/>
    <dgm:cxn modelId="{FB9D52B3-EB34-465A-8F3B-497056CA298D}" type="presParOf" srcId="{C97290F5-D0BC-4DE8-B7A5-871B304B6533}" destId="{9D541E73-5D58-436B-AB3E-74D255160F21}" srcOrd="1" destOrd="0" presId="urn:microsoft.com/office/officeart/2005/8/layout/hList2"/>
    <dgm:cxn modelId="{16614193-DC8D-4C93-85D2-B812265D80EF}" type="presParOf" srcId="{C97290F5-D0BC-4DE8-B7A5-871B304B6533}" destId="{3AB2052F-FD0D-4D98-990F-50BECAA05C4D}" srcOrd="2" destOrd="0" presId="urn:microsoft.com/office/officeart/2005/8/layout/hList2"/>
    <dgm:cxn modelId="{6776BA02-CD8A-419A-A0BC-1E9942B0AA6E}" type="presParOf" srcId="{EB2031D8-C5C7-4EAA-9263-6BEF741B5B4A}" destId="{118941BB-C425-484E-A957-6541189E5C62}" srcOrd="1" destOrd="0" presId="urn:microsoft.com/office/officeart/2005/8/layout/hList2"/>
    <dgm:cxn modelId="{F2C555F2-E879-461C-8A36-EEBCCDC00702}" type="presParOf" srcId="{EB2031D8-C5C7-4EAA-9263-6BEF741B5B4A}" destId="{584367CF-C4EE-4E7F-85AB-D7B4422B9932}" srcOrd="2" destOrd="0" presId="urn:microsoft.com/office/officeart/2005/8/layout/hList2"/>
    <dgm:cxn modelId="{32E93820-E055-4C37-BC43-34EDF869E83A}" type="presParOf" srcId="{584367CF-C4EE-4E7F-85AB-D7B4422B9932}" destId="{0AC67784-2DEC-4EC8-91F5-15AB7332D5C7}" srcOrd="0" destOrd="0" presId="urn:microsoft.com/office/officeart/2005/8/layout/hList2"/>
    <dgm:cxn modelId="{430457A4-4A41-487B-832A-F03B99A51079}" type="presParOf" srcId="{584367CF-C4EE-4E7F-85AB-D7B4422B9932}" destId="{540C41B9-68B6-4615-A4F3-346ED613BED8}" srcOrd="1" destOrd="0" presId="urn:microsoft.com/office/officeart/2005/8/layout/hList2"/>
    <dgm:cxn modelId="{B1A62D02-CF9D-4522-BEEE-317F0FAEE336}" type="presParOf" srcId="{584367CF-C4EE-4E7F-85AB-D7B4422B9932}" destId="{89A4B869-5E6B-408B-A97E-ACE8B37F67C6}" srcOrd="2" destOrd="0" presId="urn:microsoft.com/office/officeart/2005/8/layout/hList2"/>
    <dgm:cxn modelId="{3EE0EDF5-56E5-49D1-9CC1-8E50F016BB5D}" type="presParOf" srcId="{EB2031D8-C5C7-4EAA-9263-6BEF741B5B4A}" destId="{265D024B-D29D-4D65-ADDC-08AAF5D2FBA8}" srcOrd="3" destOrd="0" presId="urn:microsoft.com/office/officeart/2005/8/layout/hList2"/>
    <dgm:cxn modelId="{BDF8F290-4422-47D2-8343-8BB49EDC5EEC}" type="presParOf" srcId="{EB2031D8-C5C7-4EAA-9263-6BEF741B5B4A}" destId="{ED89F9D4-0F1B-4723-9EA5-8E6E3C6BC6ED}" srcOrd="4" destOrd="0" presId="urn:microsoft.com/office/officeart/2005/8/layout/hList2"/>
    <dgm:cxn modelId="{2940CDAB-C574-4960-88ED-72856B8C1855}" type="presParOf" srcId="{ED89F9D4-0F1B-4723-9EA5-8E6E3C6BC6ED}" destId="{6849E497-F411-4C75-A1C5-A04C73C1C612}" srcOrd="0" destOrd="0" presId="urn:microsoft.com/office/officeart/2005/8/layout/hList2"/>
    <dgm:cxn modelId="{91DBC8C4-1AB8-4F97-9CD4-8E60E864DA9F}" type="presParOf" srcId="{ED89F9D4-0F1B-4723-9EA5-8E6E3C6BC6ED}" destId="{C5070A19-874C-44A7-87EE-514F145A3445}" srcOrd="1" destOrd="0" presId="urn:microsoft.com/office/officeart/2005/8/layout/hList2"/>
    <dgm:cxn modelId="{8739B938-2095-476B-AF3D-7DA756801961}" type="presParOf" srcId="{ED89F9D4-0F1B-4723-9EA5-8E6E3C6BC6ED}" destId="{FE214089-F23D-49DB-B076-A9FFB604B52A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EB2EAA9-D75E-4188-9AC2-C02DC8B5860B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506AF70-3678-4B49-99E7-B3537AA30C3D}">
      <dgm:prSet phldrT="[Text]"/>
      <dgm:spPr/>
      <dgm:t>
        <a:bodyPr/>
        <a:lstStyle/>
        <a:p>
          <a:r>
            <a:rPr lang="en-US" dirty="0"/>
            <a:t>Mapping</a:t>
          </a:r>
        </a:p>
      </dgm:t>
    </dgm:pt>
    <dgm:pt modelId="{C3E32E15-A9B8-42A8-9310-6558D4E63ACA}" type="parTrans" cxnId="{EAB1DED0-68EA-430F-A39E-EFB26C7C5D23}">
      <dgm:prSet/>
      <dgm:spPr/>
      <dgm:t>
        <a:bodyPr/>
        <a:lstStyle/>
        <a:p>
          <a:endParaRPr lang="en-US"/>
        </a:p>
      </dgm:t>
    </dgm:pt>
    <dgm:pt modelId="{D918D9DA-E1FD-4FFD-A918-888D125F95FE}" type="sibTrans" cxnId="{EAB1DED0-68EA-430F-A39E-EFB26C7C5D23}">
      <dgm:prSet/>
      <dgm:spPr/>
      <dgm:t>
        <a:bodyPr/>
        <a:lstStyle/>
        <a:p>
          <a:endParaRPr lang="en-US"/>
        </a:p>
      </dgm:t>
    </dgm:pt>
    <dgm:pt modelId="{51AEE3EE-BDE8-4D10-89CC-38A8C91D485B}">
      <dgm:prSet phldrT="[Text]"/>
      <dgm:spPr/>
      <dgm:t>
        <a:bodyPr/>
        <a:lstStyle/>
        <a:p>
          <a:r>
            <a:rPr lang="en-US" dirty="0"/>
            <a:t>Guidance Development</a:t>
          </a:r>
        </a:p>
      </dgm:t>
    </dgm:pt>
    <dgm:pt modelId="{7824B76F-FFD7-4854-A634-5B21351E8C18}" type="parTrans" cxnId="{20266F56-47B2-485B-9730-640E392E752E}">
      <dgm:prSet/>
      <dgm:spPr/>
      <dgm:t>
        <a:bodyPr/>
        <a:lstStyle/>
        <a:p>
          <a:endParaRPr lang="en-US"/>
        </a:p>
      </dgm:t>
    </dgm:pt>
    <dgm:pt modelId="{7C08E9B7-BF90-4D4D-BCB4-F20B524A4556}" type="sibTrans" cxnId="{20266F56-47B2-485B-9730-640E392E752E}">
      <dgm:prSet/>
      <dgm:spPr/>
      <dgm:t>
        <a:bodyPr/>
        <a:lstStyle/>
        <a:p>
          <a:endParaRPr lang="en-US"/>
        </a:p>
      </dgm:t>
    </dgm:pt>
    <dgm:pt modelId="{D96A1182-F27C-473A-B533-07B26D876CA7}">
      <dgm:prSet phldrT="[Text]"/>
      <dgm:spPr/>
      <dgm:t>
        <a:bodyPr/>
        <a:lstStyle/>
        <a:p>
          <a:r>
            <a:rPr lang="en-US" dirty="0"/>
            <a:t>Consultations</a:t>
          </a:r>
        </a:p>
      </dgm:t>
    </dgm:pt>
    <dgm:pt modelId="{C0CF3732-7579-4187-A9B2-13149FAF52B4}" type="parTrans" cxnId="{9AE5E74B-4A9C-4D85-8EF6-AAE1A5C31944}">
      <dgm:prSet/>
      <dgm:spPr/>
      <dgm:t>
        <a:bodyPr/>
        <a:lstStyle/>
        <a:p>
          <a:endParaRPr lang="en-US"/>
        </a:p>
      </dgm:t>
    </dgm:pt>
    <dgm:pt modelId="{00AF9194-5330-4B9A-914E-F9C39DE93FC3}" type="sibTrans" cxnId="{9AE5E74B-4A9C-4D85-8EF6-AAE1A5C31944}">
      <dgm:prSet/>
      <dgm:spPr/>
      <dgm:t>
        <a:bodyPr/>
        <a:lstStyle/>
        <a:p>
          <a:endParaRPr lang="en-US"/>
        </a:p>
      </dgm:t>
    </dgm:pt>
    <dgm:pt modelId="{AE77A2FF-8033-4F57-92EB-21F9F7011386}" type="pres">
      <dgm:prSet presAssocID="{0EB2EAA9-D75E-4188-9AC2-C02DC8B5860B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C5E6019A-A57B-485A-8222-84D412FEC5E1}" type="pres">
      <dgm:prSet presAssocID="{D506AF70-3678-4B49-99E7-B3537AA30C3D}" presName="horFlow" presStyleCnt="0"/>
      <dgm:spPr/>
    </dgm:pt>
    <dgm:pt modelId="{815F64FB-90CB-4735-9112-106CF9BF7F41}" type="pres">
      <dgm:prSet presAssocID="{D506AF70-3678-4B49-99E7-B3537AA30C3D}" presName="bigChev" presStyleLbl="node1" presStyleIdx="0" presStyleCnt="3"/>
      <dgm:spPr/>
    </dgm:pt>
    <dgm:pt modelId="{34C2ABED-E370-45FE-9713-1A8F33F51FF8}" type="pres">
      <dgm:prSet presAssocID="{D506AF70-3678-4B49-99E7-B3537AA30C3D}" presName="vSp" presStyleCnt="0"/>
      <dgm:spPr/>
    </dgm:pt>
    <dgm:pt modelId="{5FA06D9F-915F-461A-988E-A86BAD213F87}" type="pres">
      <dgm:prSet presAssocID="{51AEE3EE-BDE8-4D10-89CC-38A8C91D485B}" presName="horFlow" presStyleCnt="0"/>
      <dgm:spPr/>
    </dgm:pt>
    <dgm:pt modelId="{85DB243B-EC67-4053-A538-27D5D242851B}" type="pres">
      <dgm:prSet presAssocID="{51AEE3EE-BDE8-4D10-89CC-38A8C91D485B}" presName="bigChev" presStyleLbl="node1" presStyleIdx="1" presStyleCnt="3"/>
      <dgm:spPr/>
    </dgm:pt>
    <dgm:pt modelId="{6DEC84C1-67C1-4000-B996-80465C205770}" type="pres">
      <dgm:prSet presAssocID="{51AEE3EE-BDE8-4D10-89CC-38A8C91D485B}" presName="vSp" presStyleCnt="0"/>
      <dgm:spPr/>
    </dgm:pt>
    <dgm:pt modelId="{A77111B5-D0E4-4ECB-AE48-B275E63BED2F}" type="pres">
      <dgm:prSet presAssocID="{D96A1182-F27C-473A-B533-07B26D876CA7}" presName="horFlow" presStyleCnt="0"/>
      <dgm:spPr/>
    </dgm:pt>
    <dgm:pt modelId="{37CCAAF8-97C2-4598-B89F-3706254FA8F0}" type="pres">
      <dgm:prSet presAssocID="{D96A1182-F27C-473A-B533-07B26D876CA7}" presName="bigChev" presStyleLbl="node1" presStyleIdx="2" presStyleCnt="3"/>
      <dgm:spPr/>
    </dgm:pt>
  </dgm:ptLst>
  <dgm:cxnLst>
    <dgm:cxn modelId="{01225F1A-2E15-45FD-AAE0-70EE11BC54E2}" type="presOf" srcId="{0EB2EAA9-D75E-4188-9AC2-C02DC8B5860B}" destId="{AE77A2FF-8033-4F57-92EB-21F9F7011386}" srcOrd="0" destOrd="0" presId="urn:microsoft.com/office/officeart/2005/8/layout/lProcess3"/>
    <dgm:cxn modelId="{CD6C4F26-395A-450B-85D5-C6F4DFF46B0D}" type="presOf" srcId="{51AEE3EE-BDE8-4D10-89CC-38A8C91D485B}" destId="{85DB243B-EC67-4053-A538-27D5D242851B}" srcOrd="0" destOrd="0" presId="urn:microsoft.com/office/officeart/2005/8/layout/lProcess3"/>
    <dgm:cxn modelId="{9AE5E74B-4A9C-4D85-8EF6-AAE1A5C31944}" srcId="{0EB2EAA9-D75E-4188-9AC2-C02DC8B5860B}" destId="{D96A1182-F27C-473A-B533-07B26D876CA7}" srcOrd="2" destOrd="0" parTransId="{C0CF3732-7579-4187-A9B2-13149FAF52B4}" sibTransId="{00AF9194-5330-4B9A-914E-F9C39DE93FC3}"/>
    <dgm:cxn modelId="{20266F56-47B2-485B-9730-640E392E752E}" srcId="{0EB2EAA9-D75E-4188-9AC2-C02DC8B5860B}" destId="{51AEE3EE-BDE8-4D10-89CC-38A8C91D485B}" srcOrd="1" destOrd="0" parTransId="{7824B76F-FFD7-4854-A634-5B21351E8C18}" sibTransId="{7C08E9B7-BF90-4D4D-BCB4-F20B524A4556}"/>
    <dgm:cxn modelId="{4212D5A4-815E-4D4D-BD90-4F65C60AC71D}" type="presOf" srcId="{D96A1182-F27C-473A-B533-07B26D876CA7}" destId="{37CCAAF8-97C2-4598-B89F-3706254FA8F0}" srcOrd="0" destOrd="0" presId="urn:microsoft.com/office/officeart/2005/8/layout/lProcess3"/>
    <dgm:cxn modelId="{EAB1DED0-68EA-430F-A39E-EFB26C7C5D23}" srcId="{0EB2EAA9-D75E-4188-9AC2-C02DC8B5860B}" destId="{D506AF70-3678-4B49-99E7-B3537AA30C3D}" srcOrd="0" destOrd="0" parTransId="{C3E32E15-A9B8-42A8-9310-6558D4E63ACA}" sibTransId="{D918D9DA-E1FD-4FFD-A918-888D125F95FE}"/>
    <dgm:cxn modelId="{A4B86EE1-ACCF-4B18-9E15-27698C140F39}" type="presOf" srcId="{D506AF70-3678-4B49-99E7-B3537AA30C3D}" destId="{815F64FB-90CB-4735-9112-106CF9BF7F41}" srcOrd="0" destOrd="0" presId="urn:microsoft.com/office/officeart/2005/8/layout/lProcess3"/>
    <dgm:cxn modelId="{EB852968-F555-442A-997F-BBC4E2F42914}" type="presParOf" srcId="{AE77A2FF-8033-4F57-92EB-21F9F7011386}" destId="{C5E6019A-A57B-485A-8222-84D412FEC5E1}" srcOrd="0" destOrd="0" presId="urn:microsoft.com/office/officeart/2005/8/layout/lProcess3"/>
    <dgm:cxn modelId="{60A4DC43-0315-4A07-9AA7-A8BCD1ADF60F}" type="presParOf" srcId="{C5E6019A-A57B-485A-8222-84D412FEC5E1}" destId="{815F64FB-90CB-4735-9112-106CF9BF7F41}" srcOrd="0" destOrd="0" presId="urn:microsoft.com/office/officeart/2005/8/layout/lProcess3"/>
    <dgm:cxn modelId="{99B91E36-2328-4336-94AD-C9267A7FB540}" type="presParOf" srcId="{AE77A2FF-8033-4F57-92EB-21F9F7011386}" destId="{34C2ABED-E370-45FE-9713-1A8F33F51FF8}" srcOrd="1" destOrd="0" presId="urn:microsoft.com/office/officeart/2005/8/layout/lProcess3"/>
    <dgm:cxn modelId="{A293FB29-4611-4F4A-85DA-D89D5EC90589}" type="presParOf" srcId="{AE77A2FF-8033-4F57-92EB-21F9F7011386}" destId="{5FA06D9F-915F-461A-988E-A86BAD213F87}" srcOrd="2" destOrd="0" presId="urn:microsoft.com/office/officeart/2005/8/layout/lProcess3"/>
    <dgm:cxn modelId="{3679E00A-75E6-4574-BBCD-D6630A6FAA2E}" type="presParOf" srcId="{5FA06D9F-915F-461A-988E-A86BAD213F87}" destId="{85DB243B-EC67-4053-A538-27D5D242851B}" srcOrd="0" destOrd="0" presId="urn:microsoft.com/office/officeart/2005/8/layout/lProcess3"/>
    <dgm:cxn modelId="{81EDC27D-8563-4752-8886-39F089BC0912}" type="presParOf" srcId="{AE77A2FF-8033-4F57-92EB-21F9F7011386}" destId="{6DEC84C1-67C1-4000-B996-80465C205770}" srcOrd="3" destOrd="0" presId="urn:microsoft.com/office/officeart/2005/8/layout/lProcess3"/>
    <dgm:cxn modelId="{7873CC93-A8B9-4B3C-8233-49CD6353D10F}" type="presParOf" srcId="{AE77A2FF-8033-4F57-92EB-21F9F7011386}" destId="{A77111B5-D0E4-4ECB-AE48-B275E63BED2F}" srcOrd="4" destOrd="0" presId="urn:microsoft.com/office/officeart/2005/8/layout/lProcess3"/>
    <dgm:cxn modelId="{0ED1CEDC-B7C3-43C6-BB6B-337CB66C6853}" type="presParOf" srcId="{A77111B5-D0E4-4ECB-AE48-B275E63BED2F}" destId="{37CCAAF8-97C2-4598-B89F-3706254FA8F0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7DC233-98C3-473D-9768-47846A371664}">
      <dsp:nvSpPr>
        <dsp:cNvPr id="0" name=""/>
        <dsp:cNvSpPr/>
      </dsp:nvSpPr>
      <dsp:spPr>
        <a:xfrm>
          <a:off x="5914816" y="36682"/>
          <a:ext cx="1279134" cy="12791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Designing and Conducting the research</a:t>
          </a:r>
        </a:p>
      </dsp:txBody>
      <dsp:txXfrm>
        <a:off x="5914816" y="36682"/>
        <a:ext cx="1279134" cy="1279134"/>
      </dsp:txXfrm>
    </dsp:sp>
    <dsp:sp modelId="{B3CE16FA-2722-48EF-9EE8-1CCDB597308F}">
      <dsp:nvSpPr>
        <dsp:cNvPr id="0" name=""/>
        <dsp:cNvSpPr/>
      </dsp:nvSpPr>
      <dsp:spPr>
        <a:xfrm>
          <a:off x="2903720" y="-576"/>
          <a:ext cx="4798498" cy="4798498"/>
        </a:xfrm>
        <a:prstGeom prst="circularArrow">
          <a:avLst>
            <a:gd name="adj1" fmla="val 5198"/>
            <a:gd name="adj2" fmla="val 335764"/>
            <a:gd name="adj3" fmla="val 21293850"/>
            <a:gd name="adj4" fmla="val 19765706"/>
            <a:gd name="adj5" fmla="val 6064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EF12A0-8DB6-45B6-AD1E-52C57CD909B3}">
      <dsp:nvSpPr>
        <dsp:cNvPr id="0" name=""/>
        <dsp:cNvSpPr/>
      </dsp:nvSpPr>
      <dsp:spPr>
        <a:xfrm>
          <a:off x="6688232" y="2417012"/>
          <a:ext cx="1279134" cy="12791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Reporting results and sharing data</a:t>
          </a:r>
        </a:p>
      </dsp:txBody>
      <dsp:txXfrm>
        <a:off x="6688232" y="2417012"/>
        <a:ext cx="1279134" cy="1279134"/>
      </dsp:txXfrm>
    </dsp:sp>
    <dsp:sp modelId="{A5191A9D-841B-4096-ACEC-B99245D5B195}">
      <dsp:nvSpPr>
        <dsp:cNvPr id="0" name=""/>
        <dsp:cNvSpPr/>
      </dsp:nvSpPr>
      <dsp:spPr>
        <a:xfrm>
          <a:off x="2903720" y="-576"/>
          <a:ext cx="4798498" cy="4798498"/>
        </a:xfrm>
        <a:prstGeom prst="circularArrow">
          <a:avLst>
            <a:gd name="adj1" fmla="val 5198"/>
            <a:gd name="adj2" fmla="val 335764"/>
            <a:gd name="adj3" fmla="val 4015328"/>
            <a:gd name="adj4" fmla="val 2252854"/>
            <a:gd name="adj5" fmla="val 6064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2B6D5E-DE62-441A-94A2-FF47987E4971}">
      <dsp:nvSpPr>
        <dsp:cNvPr id="0" name=""/>
        <dsp:cNvSpPr/>
      </dsp:nvSpPr>
      <dsp:spPr>
        <a:xfrm>
          <a:off x="4663402" y="3888137"/>
          <a:ext cx="1279134" cy="12791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Evidence synthesis and Policymaking</a:t>
          </a:r>
        </a:p>
      </dsp:txBody>
      <dsp:txXfrm>
        <a:off x="4663402" y="3888137"/>
        <a:ext cx="1279134" cy="1279134"/>
      </dsp:txXfrm>
    </dsp:sp>
    <dsp:sp modelId="{AF385A42-FDBA-4B84-BF3F-E592797D7883}">
      <dsp:nvSpPr>
        <dsp:cNvPr id="0" name=""/>
        <dsp:cNvSpPr/>
      </dsp:nvSpPr>
      <dsp:spPr>
        <a:xfrm>
          <a:off x="2929142" y="7606"/>
          <a:ext cx="4798498" cy="4798498"/>
        </a:xfrm>
        <a:prstGeom prst="circularArrow">
          <a:avLst>
            <a:gd name="adj1" fmla="val 5198"/>
            <a:gd name="adj2" fmla="val 335764"/>
            <a:gd name="adj3" fmla="val 8334798"/>
            <a:gd name="adj4" fmla="val 6492031"/>
            <a:gd name="adj5" fmla="val 6064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F9A21F8-F17C-4C03-A48E-360C68446D7D}">
      <dsp:nvSpPr>
        <dsp:cNvPr id="0" name=""/>
        <dsp:cNvSpPr/>
      </dsp:nvSpPr>
      <dsp:spPr>
        <a:xfrm>
          <a:off x="2638567" y="2363773"/>
          <a:ext cx="1279134" cy="12791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Implementing the interventions </a:t>
          </a:r>
        </a:p>
      </dsp:txBody>
      <dsp:txXfrm>
        <a:off x="2638567" y="2363773"/>
        <a:ext cx="1279134" cy="1279134"/>
      </dsp:txXfrm>
    </dsp:sp>
    <dsp:sp modelId="{DD1749AA-54F1-445E-9D2B-EB0F0C7A8DB6}">
      <dsp:nvSpPr>
        <dsp:cNvPr id="0" name=""/>
        <dsp:cNvSpPr/>
      </dsp:nvSpPr>
      <dsp:spPr>
        <a:xfrm>
          <a:off x="2874683" y="-6692"/>
          <a:ext cx="4798498" cy="4798498"/>
        </a:xfrm>
        <a:prstGeom prst="circularArrow">
          <a:avLst>
            <a:gd name="adj1" fmla="val 5198"/>
            <a:gd name="adj2" fmla="val 335764"/>
            <a:gd name="adj3" fmla="val 12246703"/>
            <a:gd name="adj4" fmla="val 10811533"/>
            <a:gd name="adj5" fmla="val 6064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15D140-B386-447F-B202-61B7A48AD7FC}">
      <dsp:nvSpPr>
        <dsp:cNvPr id="0" name=""/>
        <dsp:cNvSpPr/>
      </dsp:nvSpPr>
      <dsp:spPr>
        <a:xfrm>
          <a:off x="3411989" y="36682"/>
          <a:ext cx="1279134" cy="12791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Prioritizing research questions</a:t>
          </a:r>
        </a:p>
      </dsp:txBody>
      <dsp:txXfrm>
        <a:off x="3411989" y="36682"/>
        <a:ext cx="1279134" cy="1279134"/>
      </dsp:txXfrm>
    </dsp:sp>
    <dsp:sp modelId="{4CA30B2A-BC2A-4FB8-A2F8-70A513ABEDA1}">
      <dsp:nvSpPr>
        <dsp:cNvPr id="0" name=""/>
        <dsp:cNvSpPr/>
      </dsp:nvSpPr>
      <dsp:spPr>
        <a:xfrm>
          <a:off x="2903720" y="-576"/>
          <a:ext cx="4798498" cy="4798498"/>
        </a:xfrm>
        <a:prstGeom prst="circularArrow">
          <a:avLst>
            <a:gd name="adj1" fmla="val 5198"/>
            <a:gd name="adj2" fmla="val 335764"/>
            <a:gd name="adj3" fmla="val 16866315"/>
            <a:gd name="adj4" fmla="val 15197921"/>
            <a:gd name="adj5" fmla="val 6064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10DF6F-6D99-41BB-93CA-6A5E41BC325B}">
      <dsp:nvSpPr>
        <dsp:cNvPr id="0" name=""/>
        <dsp:cNvSpPr/>
      </dsp:nvSpPr>
      <dsp:spPr>
        <a:xfrm>
          <a:off x="2844324" y="1739132"/>
          <a:ext cx="2210512" cy="1912182"/>
        </a:xfrm>
        <a:prstGeom prst="hexagon">
          <a:avLst>
            <a:gd name="adj" fmla="val 28570"/>
            <a:gd name="vf" fmla="val 11547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Health R&amp;D ecosystem </a:t>
          </a:r>
        </a:p>
      </dsp:txBody>
      <dsp:txXfrm>
        <a:off x="3210637" y="2056007"/>
        <a:ext cx="1477886" cy="1278432"/>
      </dsp:txXfrm>
    </dsp:sp>
    <dsp:sp modelId="{ADE31FA9-35A8-4685-91E4-DE09A886F7D1}">
      <dsp:nvSpPr>
        <dsp:cNvPr id="0" name=""/>
        <dsp:cNvSpPr/>
      </dsp:nvSpPr>
      <dsp:spPr>
        <a:xfrm>
          <a:off x="4266435" y="836915"/>
          <a:ext cx="834019" cy="718618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4F6012C0-742F-49FE-A869-762B9314E051}">
      <dsp:nvSpPr>
        <dsp:cNvPr id="0" name=""/>
        <dsp:cNvSpPr/>
      </dsp:nvSpPr>
      <dsp:spPr>
        <a:xfrm>
          <a:off x="3006714" y="0"/>
          <a:ext cx="1811499" cy="1567159"/>
        </a:xfrm>
        <a:prstGeom prst="hexagon">
          <a:avLst>
            <a:gd name="adj" fmla="val 28570"/>
            <a:gd name="vf" fmla="val 115470"/>
          </a:avLst>
        </a:prstGeom>
        <a:solidFill>
          <a:schemeClr val="accent4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/>
            <a:t>Regulation and manufacturing</a:t>
          </a:r>
        </a:p>
      </dsp:txBody>
      <dsp:txXfrm>
        <a:off x="3306918" y="259712"/>
        <a:ext cx="1211091" cy="1047735"/>
      </dsp:txXfrm>
    </dsp:sp>
    <dsp:sp modelId="{43E060C9-0E2B-4207-BCBB-C8B8311775B3}">
      <dsp:nvSpPr>
        <dsp:cNvPr id="0" name=""/>
        <dsp:cNvSpPr/>
      </dsp:nvSpPr>
      <dsp:spPr>
        <a:xfrm>
          <a:off x="5201895" y="2167715"/>
          <a:ext cx="834019" cy="718618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F7B5FC79-556F-4548-83CE-4CF154E7F4E4}">
      <dsp:nvSpPr>
        <dsp:cNvPr id="0" name=""/>
        <dsp:cNvSpPr/>
      </dsp:nvSpPr>
      <dsp:spPr>
        <a:xfrm>
          <a:off x="4717360" y="984046"/>
          <a:ext cx="1811499" cy="1567159"/>
        </a:xfrm>
        <a:prstGeom prst="hexagon">
          <a:avLst>
            <a:gd name="adj" fmla="val 28570"/>
            <a:gd name="vf" fmla="val 11547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/>
            <a:t>Basic and Preclinical Research </a:t>
          </a:r>
        </a:p>
      </dsp:txBody>
      <dsp:txXfrm>
        <a:off x="5017564" y="1243758"/>
        <a:ext cx="1211091" cy="1047735"/>
      </dsp:txXfrm>
    </dsp:sp>
    <dsp:sp modelId="{A2B2E019-BDED-492C-89B4-EB3D808AB856}">
      <dsp:nvSpPr>
        <dsp:cNvPr id="0" name=""/>
        <dsp:cNvSpPr/>
      </dsp:nvSpPr>
      <dsp:spPr>
        <a:xfrm>
          <a:off x="4525732" y="3684199"/>
          <a:ext cx="834019" cy="718618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8DDDCA0-D932-4457-BB88-3AE11B0F9DEF}">
      <dsp:nvSpPr>
        <dsp:cNvPr id="0" name=""/>
        <dsp:cNvSpPr/>
      </dsp:nvSpPr>
      <dsp:spPr>
        <a:xfrm>
          <a:off x="4709299" y="2858839"/>
          <a:ext cx="1811499" cy="1567159"/>
        </a:xfrm>
        <a:prstGeom prst="hexagon">
          <a:avLst>
            <a:gd name="adj" fmla="val 28570"/>
            <a:gd name="vf" fmla="val 11547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/>
            <a:t>Clinical Research</a:t>
          </a:r>
        </a:p>
      </dsp:txBody>
      <dsp:txXfrm>
        <a:off x="5009503" y="3118551"/>
        <a:ext cx="1211091" cy="1047735"/>
      </dsp:txXfrm>
    </dsp:sp>
    <dsp:sp modelId="{FD7786D6-23D8-4EB5-8E97-A6D2782B6E06}">
      <dsp:nvSpPr>
        <dsp:cNvPr id="0" name=""/>
        <dsp:cNvSpPr/>
      </dsp:nvSpPr>
      <dsp:spPr>
        <a:xfrm>
          <a:off x="2848437" y="3841616"/>
          <a:ext cx="834019" cy="718618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7429492-1154-4FD4-9C3A-0AD1777EEADB}">
      <dsp:nvSpPr>
        <dsp:cNvPr id="0" name=""/>
        <dsp:cNvSpPr/>
      </dsp:nvSpPr>
      <dsp:spPr>
        <a:xfrm>
          <a:off x="3047944" y="3823826"/>
          <a:ext cx="1811499" cy="1567159"/>
        </a:xfrm>
        <a:prstGeom prst="hexagon">
          <a:avLst>
            <a:gd name="adj" fmla="val 28570"/>
            <a:gd name="vf" fmla="val 11547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/>
            <a:t>Social Science Research</a:t>
          </a:r>
        </a:p>
      </dsp:txBody>
      <dsp:txXfrm>
        <a:off x="3348148" y="4083538"/>
        <a:ext cx="1211091" cy="1047735"/>
      </dsp:txXfrm>
    </dsp:sp>
    <dsp:sp modelId="{97CFE338-E4CD-4A22-BB46-67B4DA055908}">
      <dsp:nvSpPr>
        <dsp:cNvPr id="0" name=""/>
        <dsp:cNvSpPr/>
      </dsp:nvSpPr>
      <dsp:spPr>
        <a:xfrm>
          <a:off x="1859131" y="2498722"/>
          <a:ext cx="834019" cy="718618"/>
        </a:xfrm>
        <a:prstGeom prst="hexagon">
          <a:avLst>
            <a:gd name="adj" fmla="val 28900"/>
            <a:gd name="vf" fmla="val 11547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8911F46-AA6C-4F43-9D11-3C2FF5DF8AD5}">
      <dsp:nvSpPr>
        <dsp:cNvPr id="0" name=""/>
        <dsp:cNvSpPr/>
      </dsp:nvSpPr>
      <dsp:spPr>
        <a:xfrm>
          <a:off x="1399509" y="2869775"/>
          <a:ext cx="1811499" cy="1567159"/>
        </a:xfrm>
        <a:prstGeom prst="hexagon">
          <a:avLst>
            <a:gd name="adj" fmla="val 28570"/>
            <a:gd name="vf" fmla="val 11547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/>
            <a:t>Implementation Research</a:t>
          </a:r>
        </a:p>
      </dsp:txBody>
      <dsp:txXfrm>
        <a:off x="1699713" y="3129487"/>
        <a:ext cx="1211091" cy="1047735"/>
      </dsp:txXfrm>
    </dsp:sp>
    <dsp:sp modelId="{A5062C88-D124-4E63-A952-D15A06F0C19F}">
      <dsp:nvSpPr>
        <dsp:cNvPr id="0" name=""/>
        <dsp:cNvSpPr/>
      </dsp:nvSpPr>
      <dsp:spPr>
        <a:xfrm>
          <a:off x="1363532" y="1080448"/>
          <a:ext cx="1811499" cy="1567159"/>
        </a:xfrm>
        <a:prstGeom prst="hexagon">
          <a:avLst>
            <a:gd name="adj" fmla="val 28570"/>
            <a:gd name="vf" fmla="val 11547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/>
            <a:t>Knowledge Translation</a:t>
          </a:r>
        </a:p>
      </dsp:txBody>
      <dsp:txXfrm>
        <a:off x="1663736" y="1340160"/>
        <a:ext cx="1211091" cy="104773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B2052F-FD0D-4D98-990F-50BECAA05C4D}">
      <dsp:nvSpPr>
        <dsp:cNvPr id="0" name=""/>
        <dsp:cNvSpPr/>
      </dsp:nvSpPr>
      <dsp:spPr>
        <a:xfrm rot="16200000">
          <a:off x="-1776825" y="2797990"/>
          <a:ext cx="4230397" cy="5387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75130" bIns="0" numCol="1" spcCol="1270" anchor="t" anchorCtr="0">
          <a:noAutofit/>
        </a:bodyPr>
        <a:lstStyle/>
        <a:p>
          <a:pPr marL="0" lvl="0" indent="0" algn="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Guidance</a:t>
          </a:r>
        </a:p>
      </dsp:txBody>
      <dsp:txXfrm>
        <a:off x="-1776825" y="2797990"/>
        <a:ext cx="4230397" cy="538730"/>
      </dsp:txXfrm>
    </dsp:sp>
    <dsp:sp modelId="{9D541E73-5D58-436B-AB3E-74D255160F21}">
      <dsp:nvSpPr>
        <dsp:cNvPr id="0" name=""/>
        <dsp:cNvSpPr/>
      </dsp:nvSpPr>
      <dsp:spPr>
        <a:xfrm>
          <a:off x="607738" y="952156"/>
          <a:ext cx="2683447" cy="423039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475130" rIns="142240" bIns="142240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5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TAG constituted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Public consultation July to September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Likely to be finalized in 2024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Online training materials to be developed in coordination with ICH, Ethics, Funders</a:t>
          </a:r>
        </a:p>
      </dsp:txBody>
      <dsp:txXfrm>
        <a:off x="607738" y="952156"/>
        <a:ext cx="2683447" cy="4230397"/>
      </dsp:txXfrm>
    </dsp:sp>
    <dsp:sp modelId="{732978AA-11BC-4947-B1FA-1F6B2BA18AC2}">
      <dsp:nvSpPr>
        <dsp:cNvPr id="0" name=""/>
        <dsp:cNvSpPr/>
      </dsp:nvSpPr>
      <dsp:spPr>
        <a:xfrm>
          <a:off x="69007" y="241032"/>
          <a:ext cx="1077460" cy="1077460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A4B869-5E6B-408B-A97E-ACE8B37F67C6}">
      <dsp:nvSpPr>
        <dsp:cNvPr id="0" name=""/>
        <dsp:cNvSpPr/>
      </dsp:nvSpPr>
      <dsp:spPr>
        <a:xfrm rot="16200000">
          <a:off x="2147998" y="2797990"/>
          <a:ext cx="4230397" cy="5387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75130" bIns="0" numCol="1" spcCol="1270" anchor="t" anchorCtr="0">
          <a:noAutofit/>
        </a:bodyPr>
        <a:lstStyle/>
        <a:p>
          <a:pPr marL="0" lvl="0" indent="0" algn="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Mapping</a:t>
          </a:r>
        </a:p>
      </dsp:txBody>
      <dsp:txXfrm>
        <a:off x="2147998" y="2797990"/>
        <a:ext cx="4230397" cy="538730"/>
      </dsp:txXfrm>
    </dsp:sp>
    <dsp:sp modelId="{540C41B9-68B6-4615-A4F3-346ED613BED8}">
      <dsp:nvSpPr>
        <dsp:cNvPr id="0" name=""/>
        <dsp:cNvSpPr/>
      </dsp:nvSpPr>
      <dsp:spPr>
        <a:xfrm>
          <a:off x="4532562" y="952156"/>
          <a:ext cx="2683447" cy="423039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475130" rIns="142240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Network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Funding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National Regulation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Sites/institutional capacities</a:t>
          </a: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500" kern="1200" dirty="0"/>
        </a:p>
      </dsp:txBody>
      <dsp:txXfrm>
        <a:off x="4532562" y="952156"/>
        <a:ext cx="2683447" cy="4230397"/>
      </dsp:txXfrm>
    </dsp:sp>
    <dsp:sp modelId="{0AC67784-2DEC-4EC8-91F5-15AB7332D5C7}">
      <dsp:nvSpPr>
        <dsp:cNvPr id="0" name=""/>
        <dsp:cNvSpPr/>
      </dsp:nvSpPr>
      <dsp:spPr>
        <a:xfrm>
          <a:off x="3993832" y="241032"/>
          <a:ext cx="1077460" cy="1077460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E214089-F23D-49DB-B076-A9FFB604B52A}">
      <dsp:nvSpPr>
        <dsp:cNvPr id="0" name=""/>
        <dsp:cNvSpPr/>
      </dsp:nvSpPr>
      <dsp:spPr>
        <a:xfrm rot="16200000">
          <a:off x="6072823" y="2797990"/>
          <a:ext cx="4230397" cy="5387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475130" bIns="0" numCol="1" spcCol="1270" anchor="t" anchorCtr="0">
          <a:noAutofit/>
        </a:bodyPr>
        <a:lstStyle/>
        <a:p>
          <a:pPr marL="0" lvl="0" indent="0" algn="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/>
            <a:t>Consultations</a:t>
          </a:r>
        </a:p>
      </dsp:txBody>
      <dsp:txXfrm>
        <a:off x="6072823" y="2797990"/>
        <a:ext cx="4230397" cy="538730"/>
      </dsp:txXfrm>
    </dsp:sp>
    <dsp:sp modelId="{C5070A19-874C-44A7-87EE-514F145A3445}">
      <dsp:nvSpPr>
        <dsp:cNvPr id="0" name=""/>
        <dsp:cNvSpPr/>
      </dsp:nvSpPr>
      <dsp:spPr>
        <a:xfrm>
          <a:off x="8389630" y="860779"/>
          <a:ext cx="2818961" cy="423039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475130" rIns="128016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4</a:t>
          </a:r>
          <a:r>
            <a:rPr lang="en-US" sz="1800" kern="1200" baseline="30000" dirty="0"/>
            <a:t>th</a:t>
          </a:r>
          <a:r>
            <a:rPr lang="en-US" sz="1800" kern="1200" dirty="0"/>
            <a:t>  Member State consultation completed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Private sector consultations: </a:t>
          </a:r>
          <a:r>
            <a:rPr lang="en-US" sz="1600" kern="1200" dirty="0"/>
            <a:t>Geneva, May &amp; Kigali October 2023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Regional consultations: </a:t>
          </a:r>
          <a:r>
            <a:rPr lang="en-US" sz="1600" kern="1200" dirty="0"/>
            <a:t>PAHO Oct 4-5, AFRO Oct 17-18, SEARO, Nov 10-11, EMRO Nov 14-15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/>
            <a:t>Global forum meeting with stakeholders </a:t>
          </a:r>
          <a:r>
            <a:rPr lang="en-US" sz="1600" kern="1200" dirty="0"/>
            <a:t>(clinical researchers, ethics, regulatory, funders, patient, community organizations, private sector)</a:t>
          </a:r>
        </a:p>
      </dsp:txBody>
      <dsp:txXfrm>
        <a:off x="8389630" y="860779"/>
        <a:ext cx="2818961" cy="4230397"/>
      </dsp:txXfrm>
    </dsp:sp>
    <dsp:sp modelId="{6849E497-F411-4C75-A1C5-A04C73C1C612}">
      <dsp:nvSpPr>
        <dsp:cNvPr id="0" name=""/>
        <dsp:cNvSpPr/>
      </dsp:nvSpPr>
      <dsp:spPr>
        <a:xfrm>
          <a:off x="7918657" y="241032"/>
          <a:ext cx="1077460" cy="1077460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5F64FB-90CB-4735-9112-106CF9BF7F41}">
      <dsp:nvSpPr>
        <dsp:cNvPr id="0" name=""/>
        <dsp:cNvSpPr/>
      </dsp:nvSpPr>
      <dsp:spPr>
        <a:xfrm>
          <a:off x="1902299" y="1115"/>
          <a:ext cx="2959132" cy="118365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Mapping</a:t>
          </a:r>
        </a:p>
      </dsp:txBody>
      <dsp:txXfrm>
        <a:off x="2494126" y="1115"/>
        <a:ext cx="1775479" cy="1183653"/>
      </dsp:txXfrm>
    </dsp:sp>
    <dsp:sp modelId="{85DB243B-EC67-4053-A538-27D5D242851B}">
      <dsp:nvSpPr>
        <dsp:cNvPr id="0" name=""/>
        <dsp:cNvSpPr/>
      </dsp:nvSpPr>
      <dsp:spPr>
        <a:xfrm>
          <a:off x="1902299" y="1350479"/>
          <a:ext cx="2959132" cy="118365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Guidance Development</a:t>
          </a:r>
        </a:p>
      </dsp:txBody>
      <dsp:txXfrm>
        <a:off x="2494126" y="1350479"/>
        <a:ext cx="1775479" cy="1183653"/>
      </dsp:txXfrm>
    </dsp:sp>
    <dsp:sp modelId="{37CCAAF8-97C2-4598-B89F-3706254FA8F0}">
      <dsp:nvSpPr>
        <dsp:cNvPr id="0" name=""/>
        <dsp:cNvSpPr/>
      </dsp:nvSpPr>
      <dsp:spPr>
        <a:xfrm>
          <a:off x="1902299" y="2699844"/>
          <a:ext cx="2959132" cy="118365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15240" rIns="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Consultations</a:t>
          </a:r>
        </a:p>
      </dsp:txBody>
      <dsp:txXfrm>
        <a:off x="2494126" y="2699844"/>
        <a:ext cx="1775479" cy="11836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3B9E75-173B-4ECF-B280-D1956404D9C2}" type="datetimeFigureOut">
              <a:rPr lang="en-US" smtClean="0"/>
              <a:t>4/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C6C5A5-F498-4517-BD84-254171FF09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3313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85B747-18E9-E746-A276-B387773C2A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8369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85B747-18E9-E746-A276-B387773C2A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37778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0.xml"/><Relationship Id="rId5" Type="http://schemas.openxmlformats.org/officeDocument/2006/relationships/image" Target="../media/image24.png"/><Relationship Id="rId4" Type="http://schemas.openxmlformats.org/officeDocument/2006/relationships/image" Target="../media/image19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image" Target="../media/image19.emf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oleObject" Target="../embeddings/oleObject6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1.xml"/><Relationship Id="rId5" Type="http://schemas.openxmlformats.org/officeDocument/2006/relationships/image" Target="../media/image24.png"/><Relationship Id="rId4" Type="http://schemas.openxmlformats.org/officeDocument/2006/relationships/image" Target="../media/image19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2.xml"/><Relationship Id="rId5" Type="http://schemas.openxmlformats.org/officeDocument/2006/relationships/image" Target="../media/image25.png"/><Relationship Id="rId4" Type="http://schemas.openxmlformats.org/officeDocument/2006/relationships/image" Target="../media/image19.emf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oleObject" Target="../embeddings/oleObject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7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emf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emf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2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9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0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2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5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emf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6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4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emf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7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5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emf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6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6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emf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5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7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6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8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25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9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6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0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1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2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6" Type="http://schemas.openxmlformats.org/officeDocument/2006/relationships/image" Target="../media/image23.emf"/><Relationship Id="rId5" Type="http://schemas.openxmlformats.org/officeDocument/2006/relationships/image" Target="../media/image24.png"/><Relationship Id="rId4" Type="http://schemas.openxmlformats.org/officeDocument/2006/relationships/image" Target="../media/image22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4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22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5" Type="http://schemas.openxmlformats.org/officeDocument/2006/relationships/image" Target="../media/image23.emf"/><Relationship Id="rId4" Type="http://schemas.openxmlformats.org/officeDocument/2006/relationships/image" Target="../media/image22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4" Type="http://schemas.openxmlformats.org/officeDocument/2006/relationships/image" Target="../media/image22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4" Type="http://schemas.openxmlformats.org/officeDocument/2006/relationships/image" Target="../media/image22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0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1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2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3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4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Relationship Id="rId5" Type="http://schemas.openxmlformats.org/officeDocument/2006/relationships/image" Target="../media/image24.png"/><Relationship Id="rId4" Type="http://schemas.openxmlformats.org/officeDocument/2006/relationships/image" Target="../media/image22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2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6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2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7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2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8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2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9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2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40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Relationship Id="rId5" Type="http://schemas.openxmlformats.org/officeDocument/2006/relationships/image" Target="../media/image25.png"/><Relationship Id="rId4" Type="http://schemas.openxmlformats.org/officeDocument/2006/relationships/image" Target="../media/image22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26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42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Relationship Id="rId5" Type="http://schemas.openxmlformats.org/officeDocument/2006/relationships/image" Target="../media/image27.png"/><Relationship Id="rId4" Type="http://schemas.openxmlformats.org/officeDocument/2006/relationships/image" Target="../media/image22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26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44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25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5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26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46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25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47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26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48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4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50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1.xml"/><Relationship Id="rId5" Type="http://schemas.openxmlformats.org/officeDocument/2006/relationships/image" Target="../media/image24.png"/><Relationship Id="rId4" Type="http://schemas.openxmlformats.org/officeDocument/2006/relationships/image" Target="../media/image22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52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4.xml"/><Relationship Id="rId5" Type="http://schemas.openxmlformats.org/officeDocument/2006/relationships/image" Target="../media/image25.png"/><Relationship Id="rId4" Type="http://schemas.openxmlformats.org/officeDocument/2006/relationships/image" Target="../media/image22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5.xml"/><Relationship Id="rId4" Type="http://schemas.openxmlformats.org/officeDocument/2006/relationships/image" Target="../media/image22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6.xml"/><Relationship Id="rId4" Type="http://schemas.openxmlformats.org/officeDocument/2006/relationships/image" Target="../media/image22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Relationship Id="rId4" Type="http://schemas.openxmlformats.org/officeDocument/2006/relationships/image" Target="../media/image22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8.xml"/><Relationship Id="rId5" Type="http://schemas.openxmlformats.org/officeDocument/2006/relationships/image" Target="../media/image21.emf"/><Relationship Id="rId4" Type="http://schemas.openxmlformats.org/officeDocument/2006/relationships/image" Target="../media/image22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9.xml"/><Relationship Id="rId4" Type="http://schemas.openxmlformats.org/officeDocument/2006/relationships/image" Target="../media/image22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19.emf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oleObject" Target="../embeddings/oleObject5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1" y="5852984"/>
            <a:ext cx="2314640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376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90053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F263B6D-8996-474F-BAA8-575C05E666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83208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0242535"/>
              </p:ext>
            </p:extLst>
          </p:nvPr>
        </p:nvGraphicFramePr>
        <p:xfrm>
          <a:off x="1591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1089970" y="2668041"/>
            <a:ext cx="10012800" cy="320102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endParaRPr lang="en-US" sz="4401" dirty="0">
              <a:solidFill>
                <a:srgbClr val="FFFFFF">
                  <a:lumMod val="100000"/>
                </a:srgb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>
            <p:custDataLst>
              <p:tags r:id="rId3"/>
            </p:custDataLst>
          </p:nvPr>
        </p:nvSpPr>
        <p:spPr>
          <a:xfrm>
            <a:off x="1089971" y="1457802"/>
            <a:ext cx="1128806" cy="9180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>
                  <a:lumMod val="100000"/>
                </a:srgb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513218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48409"/>
              </p:ext>
            </p:extLst>
          </p:nvPr>
        </p:nvGraphicFramePr>
        <p:xfrm>
          <a:off x="1591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Connector 9"/>
          <p:cNvCxnSpPr/>
          <p:nvPr userDrawn="1">
            <p:custDataLst>
              <p:tags r:id="rId2"/>
            </p:custDataLst>
          </p:nvPr>
        </p:nvCxnSpPr>
        <p:spPr>
          <a:xfrm>
            <a:off x="773723" y="1206001"/>
            <a:ext cx="1141827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3"/>
            </p:custDataLst>
          </p:nvPr>
        </p:nvSpPr>
        <p:spPr>
          <a:xfrm>
            <a:off x="773723" y="622800"/>
            <a:ext cx="8849228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800" dirty="0">
                <a:solidFill>
                  <a:schemeClr val="bg1">
                    <a:lumMod val="10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93935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1207223"/>
              </p:ext>
            </p:extLst>
          </p:nvPr>
        </p:nvGraphicFramePr>
        <p:xfrm>
          <a:off x="1591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7" y="0"/>
            <a:ext cx="513170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4136372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775385" y="2682000"/>
            <a:ext cx="3043938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28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935631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1377707"/>
              </p:ext>
            </p:extLst>
          </p:nvPr>
        </p:nvGraphicFramePr>
        <p:xfrm>
          <a:off x="1591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>
          <a:xfrm>
            <a:off x="2176153" y="4552781"/>
            <a:ext cx="1072246" cy="87242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10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3424805" y="4552778"/>
            <a:ext cx="1617231" cy="1312672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10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775383" y="914402"/>
            <a:ext cx="4266652" cy="3494377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401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06642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0093852"/>
              </p:ext>
            </p:extLst>
          </p:nvPr>
        </p:nvGraphicFramePr>
        <p:xfrm>
          <a:off x="1591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2"/>
            </p:custDataLst>
          </p:nvPr>
        </p:nvSpPr>
        <p:spPr>
          <a:xfrm>
            <a:off x="1089967" y="2668041"/>
            <a:ext cx="10012800" cy="3201026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endParaRPr lang="en-US" sz="4401" dirty="0">
              <a:solidFill>
                <a:schemeClr val="accent4">
                  <a:lumMod val="10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1089967" y="1457802"/>
            <a:ext cx="1128806" cy="9180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chemeClr val="tx1">
                  <a:lumMod val="10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8674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413983"/>
              </p:ext>
            </p:extLst>
          </p:nvPr>
        </p:nvGraphicFramePr>
        <p:xfrm>
          <a:off x="1591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>
            <p:custDataLst>
              <p:tags r:id="rId2"/>
            </p:custDataLst>
          </p:nvPr>
        </p:nvCxnSpPr>
        <p:spPr>
          <a:xfrm>
            <a:off x="773723" y="1205999"/>
            <a:ext cx="11418277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773723" y="622799"/>
            <a:ext cx="8849228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400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41326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24993"/>
              </p:ext>
            </p:extLst>
          </p:nvPr>
        </p:nvGraphicFramePr>
        <p:xfrm>
          <a:off x="1591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7" y="0"/>
            <a:ext cx="513170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4136372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775385" y="2682000"/>
            <a:ext cx="3043938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38806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2662076"/>
              </p:ext>
            </p:extLst>
          </p:nvPr>
        </p:nvGraphicFramePr>
        <p:xfrm>
          <a:off x="1591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61450" y="2726342"/>
            <a:ext cx="2738215" cy="14053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401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644" y="3590399"/>
            <a:ext cx="168030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172677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D1A6E6-075E-4828-AF88-09BD0A742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3800DB-487B-4E23-AC0B-90C9ED4E10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4DF5B1-3694-42A9-866E-9F1FF6CF0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4/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18E67-8162-4BE0-9B01-22B89A120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568B9D-A8C9-40C5-85B0-14F435F39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0315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C31A47E6-021F-C944-BAE1-D55D61F608A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0235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2CE0C0D0-CCE0-8E4F-A363-BB316DFA39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4627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8" y="0"/>
            <a:ext cx="12191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C9FB247-3197-0943-93E9-189420DEBD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8506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51DC5B-DFE6-E242-ACD8-A305694C98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1395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CEB4C6A-ABE1-CC43-80D7-96BB3E6B03F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898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AD15AB5-9F8B-CF48-0A1A-FEDEE943A1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CEB4C6A-ABE1-CC43-80D7-96BB3E6B03F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9033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939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918AED1-D52B-B843-8422-E6CDCCEE03A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3617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0163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345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7154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with pattern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AD99E1C-D74E-374D-8800-FB673CA412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2000"/>
          </a:blip>
          <a:stretch>
            <a:fillRect/>
          </a:stretch>
        </p:blipFill>
        <p:spPr>
          <a:xfrm>
            <a:off x="0" y="63736"/>
            <a:ext cx="12192000" cy="6730528"/>
          </a:xfrm>
          <a:prstGeom prst="rect">
            <a:avLst/>
          </a:prstGeom>
          <a:solidFill>
            <a:srgbClr val="00208A">
              <a:alpha val="0"/>
            </a:srgbClr>
          </a:solidFill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1" y="5852984"/>
            <a:ext cx="2314640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0381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4238786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373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4238786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0820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846372"/>
            <a:ext cx="9700351" cy="2743200"/>
          </a:xfrm>
        </p:spPr>
        <p:txBody>
          <a:bodyPr anchor="t" anchorCtr="0">
            <a:normAutofit/>
          </a:bodyPr>
          <a:lstStyle>
            <a:lvl1pPr marL="228600" indent="-228600">
              <a:defRPr sz="4000">
                <a:solidFill>
                  <a:srgbClr val="009ADE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734772"/>
            <a:ext cx="9700351" cy="760413"/>
          </a:xfrm>
        </p:spPr>
        <p:txBody>
          <a:bodyPr/>
          <a:lstStyle>
            <a:lvl1pPr marL="0" indent="0">
              <a:buNone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CEC661-474A-1A4C-9F57-9C28C3FE5F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8342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_navy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139590"/>
            <a:ext cx="9700351" cy="219810"/>
          </a:xfrm>
        </p:spPr>
        <p:txBody>
          <a:bodyPr anchor="t" anchorCtr="0">
            <a:normAutofit/>
          </a:bodyPr>
          <a:lstStyle>
            <a:lvl1pPr marL="0" indent="0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574800"/>
            <a:ext cx="9700351" cy="3920385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4000" b="0" i="0">
                <a:solidFill>
                  <a:srgbClr val="009AD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CEC661-474A-1A4C-9F57-9C28C3FE5F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28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 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229051"/>
            <a:ext cx="7020558" cy="760413"/>
          </a:xfrm>
        </p:spPr>
        <p:txBody>
          <a:bodyPr/>
          <a:lstStyle>
            <a:lvl1pPr marL="0" indent="0">
              <a:buNone/>
              <a:defRPr b="1" i="0">
                <a:solidFill>
                  <a:srgbClr val="00205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CEC661-474A-1A4C-9F57-9C28C3FE5F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5" y="6000906"/>
            <a:ext cx="1828792" cy="556811"/>
          </a:xfrm>
          <a:prstGeom prst="rect">
            <a:avLst/>
          </a:prstGeom>
        </p:spPr>
      </p:pic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9DD4EE67-57B6-3E41-9A9B-D3C3BD8E5C0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60800" y="1551943"/>
            <a:ext cx="3973999" cy="347724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DA67AD6-D8C7-B74A-B8D9-C0B4BE696ED5}"/>
              </a:ext>
            </a:extLst>
          </p:cNvPr>
          <p:cNvSpPr txBox="1">
            <a:spLocks/>
          </p:cNvSpPr>
          <p:nvPr userDrawn="1"/>
        </p:nvSpPr>
        <p:spPr>
          <a:xfrm>
            <a:off x="457201" y="1139590"/>
            <a:ext cx="7305040" cy="2198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0" i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205C"/>
                </a:solidFill>
              </a:rPr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4CB5F0B-02BD-614A-851C-63011963EC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1574801"/>
            <a:ext cx="7020559" cy="2654250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4000" b="0" i="0">
                <a:solidFill>
                  <a:srgbClr val="00205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42943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11277600" cy="3884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E3EDB005-A3A8-244D-9176-D7DF06EAD0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2131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563877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E3EDB005-A3A8-244D-9176-D7DF06EAD0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FE6E48B-14B1-A34F-BE35-F35F8B6054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8F898B1A-280F-FE45-8D41-1CB270410E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6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30F77ACD-9F22-9B44-AE97-B98CCD01BE6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7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224E5827-DC51-2E44-A3BF-A892FE8FADC9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26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FF5458C-BD2E-A546-9365-90B8F7ADAED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07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97089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7467600" cy="3884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92FD39-3BDA-A44D-BDE3-A5569FD6A0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77200" y="1828801"/>
            <a:ext cx="3657600" cy="4343400"/>
          </a:xfrm>
          <a:solidFill>
            <a:srgbClr val="DDEFF9"/>
          </a:solidFill>
        </p:spPr>
        <p:txBody>
          <a:bodyPr lIns="182880" tIns="182880" rIns="182880" bIns="182880">
            <a:normAutofit/>
          </a:bodyPr>
          <a:lstStyle>
            <a:lvl1pPr marL="0" indent="0">
              <a:buNone/>
              <a:defRPr sz="2000">
                <a:solidFill>
                  <a:srgbClr val="00205C"/>
                </a:solidFill>
              </a:defRPr>
            </a:lvl1pPr>
            <a:lvl2pPr marL="457200" indent="0">
              <a:buNone/>
              <a:defRPr sz="2000">
                <a:solidFill>
                  <a:srgbClr val="00205C"/>
                </a:solidFill>
              </a:defRPr>
            </a:lvl2pPr>
            <a:lvl3pPr marL="914400" indent="0">
              <a:buNone/>
              <a:defRPr sz="2000">
                <a:solidFill>
                  <a:srgbClr val="00205C"/>
                </a:solidFill>
              </a:defRPr>
            </a:lvl3pPr>
            <a:lvl4pPr marL="1371600" indent="0">
              <a:buNone/>
              <a:defRPr sz="2000">
                <a:solidFill>
                  <a:srgbClr val="00205C"/>
                </a:solidFill>
              </a:defRPr>
            </a:lvl4pPr>
            <a:lvl5pPr marL="1828800" indent="0">
              <a:buNone/>
              <a:defRPr sz="2000">
                <a:solidFill>
                  <a:srgbClr val="00205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77C92E-FD76-CA4F-9DDF-75EE90F0F3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8230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A116F-33D4-214F-8363-398140754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0AB01D-7345-234E-A3DA-20878B807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87299" y="6397384"/>
            <a:ext cx="5767465" cy="324091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pPr algn="l"/>
            <a:r>
              <a:rPr lang="en-US" b="1" dirty="0">
                <a:solidFill>
                  <a:srgbClr val="1E0A3C"/>
                </a:solidFill>
                <a:latin typeface="Neue Plak"/>
              </a:rPr>
              <a:t>Nepal National Summit of Health and Population Scientists, 10 April 2024</a:t>
            </a:r>
            <a:endParaRPr lang="en-US" dirty="0">
              <a:solidFill>
                <a:srgbClr val="39364F"/>
              </a:solidFill>
              <a:latin typeface="Neue Plak"/>
            </a:endParaRP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8F8493-D439-A54B-B38D-F16C729EB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D24C2A-6EDC-0343-99A8-1F88C30FEDB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B07DB3F-88D4-4949-9C4B-3D78CB2090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1866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A116F-33D4-214F-8363-398140754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0AB01D-7345-234E-A3DA-20878B807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8F8493-D439-A54B-B38D-F16C729EB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D24C2A-6EDC-0343-99A8-1F88C30FEDB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B07DB3F-88D4-4949-9C4B-3D78CB2090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9364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+ blue log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9AD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2" y="5852984"/>
            <a:ext cx="2314637" cy="70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5364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_ligh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45720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4572000" cy="3884295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00172" y="6404128"/>
            <a:ext cx="5154592" cy="320675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B0D277E7-B8AB-6149-A9B0-222EC5A514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5851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1"/>
            <a:ext cx="5486398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3" y="2517751"/>
            <a:ext cx="5486400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5486399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1828800"/>
            <a:ext cx="5494112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6B883BC-ECF6-C547-8C20-CE0694CA25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0014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 long_l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1"/>
            <a:ext cx="5486398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3" y="2517751"/>
            <a:ext cx="5486400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5486399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1828800"/>
            <a:ext cx="5494112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900D91A6-1DEF-C742-BB2B-4F0CE8BD17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6023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07F70BE-CB24-3442-8592-A6FFA4981F1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6903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749FC0E-0F2F-094B-8C94-48717D7C345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26903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2D1EB86-22C0-554C-8156-5D3F5DE4713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6985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C67BFE9-FA82-8A47-87CA-56246F893F1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06985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1CFAF92-E612-AE40-ABFE-2A513B425F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730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_l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07F70BE-CB24-3442-8592-A6FFA4981F1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6903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749FC0E-0F2F-094B-8C94-48717D7C345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26903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2D1EB86-22C0-554C-8156-5D3F5DE4713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6985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C67BFE9-FA82-8A47-87CA-56246F893F1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06985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1AF795-8C85-814F-914D-9EBE0519A1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5524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_ Tw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4071396"/>
            <a:ext cx="5486400" cy="168931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5352" y="4050792"/>
            <a:ext cx="5486400" cy="17058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2998280"/>
            <a:ext cx="54863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2998280"/>
            <a:ext cx="5494112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3318E81-63F9-2444-AF93-3EF243AFF1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9906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_ Thre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B638C7-E24F-E84A-8A79-2D89619AA1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5638800" cy="11345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FE4183-96D7-744D-8DFD-4B5CF171B7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1" y="4051583"/>
            <a:ext cx="3657600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AE1CDE4-68A4-444E-A1DB-6DB20F3DB1B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276222" y="4051583"/>
            <a:ext cx="3648578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CAD4A73-8602-F84A-9C68-0647084B0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F68175-0DD6-164B-8823-0BB395D927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E81021D4-D0CA-9643-B255-9450B2B4003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061767" y="4051583"/>
            <a:ext cx="3648578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8C0A84-F996-E447-B5A6-E7580AB01597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267200" y="3388291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3D59E60-2BBC-8D47-BE05-D1C3EE75C4F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57200" y="3408116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B6BFF59-A5AB-774C-ABAB-C052FE11D8A5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077200" y="3408116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0CC6A7D-F186-344A-AFAE-1F4FB8A6C3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9444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D8E279F-2BBA-1D44-B270-AA9874F04DB2}"/>
              </a:ext>
            </a:extLst>
          </p:cNvPr>
          <p:cNvSpPr/>
          <p:nvPr userDrawn="1"/>
        </p:nvSpPr>
        <p:spPr>
          <a:xfrm>
            <a:off x="4259484" y="0"/>
            <a:ext cx="7932516" cy="6858000"/>
          </a:xfrm>
          <a:prstGeom prst="rect">
            <a:avLst/>
          </a:prstGeom>
          <a:solidFill>
            <a:srgbClr val="DDEF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485297-9C41-6C4E-8A84-CACB42015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435" y="685800"/>
            <a:ext cx="3335388" cy="839788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407C06-6CF8-2F41-BC67-54F13BB0A8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C0C6F6-8639-BE4B-BAD3-FFDBE27818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1"/>
            <a:ext cx="3335388" cy="395223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4588A5-7D85-6341-A58F-B4539B4697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F08247-7496-3348-B3C4-9BDDB676B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E8B88C-5FF6-8C4C-B269-E15964BDCE0D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8623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95724E3-FDE3-2149-BB91-FE058CAA94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5959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47DDD-7B22-4B4B-AF9B-229B49A9A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3337560" cy="857150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010153-3787-EA4E-BC67-F986AEE886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67200" y="0"/>
            <a:ext cx="7924800" cy="68580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4C8B99-BBF3-CC4A-B7FE-B150924800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0"/>
            <a:ext cx="3337560" cy="3881120"/>
          </a:xfrm>
        </p:spPr>
        <p:txBody>
          <a:bodyPr>
            <a:normAutofit/>
          </a:bodyPr>
          <a:lstStyle>
            <a:lvl1pPr marL="285750" indent="-285750">
              <a:spcBef>
                <a:spcPts val="1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1E8777-C4EC-044C-BE17-A6F640B96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51B503-85CA-F24C-915F-EDB0C0315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472D18-BE55-9E45-89BD-2847F7014DC6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756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42992776-3670-F24B-B4C8-03460D5C00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1263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47DDD-7B22-4B4B-AF9B-229B49A9A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3337560" cy="857150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010153-3787-EA4E-BC67-F986AEE886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67200" y="0"/>
            <a:ext cx="7924800" cy="68580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4C8B99-BBF3-CC4A-B7FE-B150924800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0"/>
            <a:ext cx="3337560" cy="388112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1E8777-C4EC-044C-BE17-A6F640B96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51B503-85CA-F24C-915F-EDB0C0315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472D18-BE55-9E45-89BD-2847F7014DC6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756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1484C8C0-9FE5-7B48-A8C7-062291516A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1772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l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0C07BE4-5AF9-FF47-B682-ABA70C1652CA}"/>
              </a:ext>
            </a:extLst>
          </p:cNvPr>
          <p:cNvSpPr/>
          <p:nvPr userDrawn="1"/>
        </p:nvSpPr>
        <p:spPr>
          <a:xfrm>
            <a:off x="0" y="0"/>
            <a:ext cx="12192000" cy="5347504"/>
          </a:xfrm>
          <a:prstGeom prst="rect">
            <a:avLst/>
          </a:prstGeom>
          <a:solidFill>
            <a:srgbClr val="DDEF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205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07A3732-E7A9-B344-8DAE-D56547DA56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2" y="5852984"/>
            <a:ext cx="2314637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6219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nd page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1828800"/>
            <a:ext cx="5638800" cy="1325499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429000"/>
            <a:ext cx="5638800" cy="1655762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1" y="5852984"/>
            <a:ext cx="2314640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34162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07993C-BFA5-A67E-366C-BF324DB225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153CE6-D247-4B52-8C17-538CDCCCC9A6}" type="datetimeFigureOut">
              <a:rPr lang="en-US" smtClean="0"/>
              <a:t>4/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53C6CB-9B0F-13F0-C444-1D1D4CE3E9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D46DDA-FA6D-4D42-11F2-1F0D5FD071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F7C9B5-13E0-438A-86F2-17D83F33C3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9375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749409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hape 3"/>
          <p:cNvSpPr/>
          <p:nvPr userDrawn="1"/>
        </p:nvSpPr>
        <p:spPr>
          <a:xfrm>
            <a:off x="0" y="2429301"/>
            <a:ext cx="12192000" cy="0"/>
          </a:xfrm>
          <a:prstGeom prst="line">
            <a:avLst/>
          </a:prstGeom>
          <a:ln w="31750">
            <a:solidFill>
              <a:srgbClr val="FFFFFF"/>
            </a:solidFill>
            <a:round/>
          </a:ln>
        </p:spPr>
        <p:txBody>
          <a:bodyPr lIns="0" tIns="0" rIns="0" bIns="0" anchor="ctr"/>
          <a:lstStyle/>
          <a:p>
            <a:pPr lvl="0" defTabSz="451759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Shape 4"/>
          <p:cNvSpPr/>
          <p:nvPr userDrawn="1"/>
        </p:nvSpPr>
        <p:spPr>
          <a:xfrm flipH="1">
            <a:off x="1336155" y="1463043"/>
            <a:ext cx="0" cy="5394961"/>
          </a:xfrm>
          <a:prstGeom prst="line">
            <a:avLst/>
          </a:prstGeom>
          <a:ln w="28575">
            <a:solidFill>
              <a:srgbClr val="FFFFFF"/>
            </a:solidFill>
            <a:round/>
          </a:ln>
        </p:spPr>
        <p:txBody>
          <a:bodyPr lIns="0" tIns="0" rIns="0" bIns="0" anchor="ctr"/>
          <a:lstStyle/>
          <a:p>
            <a:pPr lvl="0" defTabSz="451759">
              <a:defRPr sz="1200">
                <a:latin typeface="+mn-lt"/>
                <a:ea typeface="+mn-ea"/>
                <a:cs typeface="+mn-cs"/>
                <a:sym typeface="Helvetica"/>
              </a:defRPr>
            </a:pPr>
            <a:endParaRPr sz="12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429939" y="731521"/>
            <a:ext cx="9990533" cy="1592580"/>
          </a:xfrm>
        </p:spPr>
        <p:txBody>
          <a:bodyPr/>
          <a:lstStyle>
            <a:lvl1pPr algn="ctr">
              <a:buNone/>
              <a:defRPr sz="2000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429939" y="2534502"/>
            <a:ext cx="9990533" cy="1800830"/>
          </a:xfrm>
        </p:spPr>
        <p:txBody>
          <a:bodyPr anchor="ctr"/>
          <a:lstStyle>
            <a:lvl1pPr algn="ctr">
              <a:buNone/>
              <a:defRPr sz="3200" b="1">
                <a:solidFill>
                  <a:schemeClr val="accent3"/>
                </a:solidFill>
                <a:latin typeface="+mj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Title in Title Cas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29939" y="4395362"/>
            <a:ext cx="9990533" cy="381251"/>
          </a:xfrm>
        </p:spPr>
        <p:txBody>
          <a:bodyPr anchor="ctr"/>
          <a:lstStyle>
            <a:lvl1pPr algn="r">
              <a:buNone/>
              <a:defRPr sz="1600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Document author</a:t>
            </a:r>
          </a:p>
        </p:txBody>
      </p:sp>
      <p:pic>
        <p:nvPicPr>
          <p:cNvPr id="9" name="Picture 18">
            <a:extLst>
              <a:ext uri="{FF2B5EF4-FFF2-40B4-BE49-F238E27FC236}">
                <a16:creationId xmlns:a16="http://schemas.microsoft.com/office/drawing/2014/main" id="{17D4B92D-26CE-4D4D-AFDF-C1ED1A3C043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757781" y="5215736"/>
            <a:ext cx="2662694" cy="118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6073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829123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423F261-97FE-4D3A-9622-ECE0D90B7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75384" y="285750"/>
            <a:ext cx="10642708" cy="896112"/>
          </a:xfrm>
        </p:spPr>
        <p:txBody>
          <a:bodyPr anchor="ctr">
            <a:noAutofit/>
          </a:bodyPr>
          <a:lstStyle>
            <a:lvl1pPr algn="ctr"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Line 4"/>
          <p:cNvSpPr>
            <a:spLocks noChangeShapeType="1"/>
          </p:cNvSpPr>
          <p:nvPr userDrawn="1"/>
        </p:nvSpPr>
        <p:spPr bwMode="auto">
          <a:xfrm>
            <a:off x="0" y="1263697"/>
            <a:ext cx="12192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ffectLst>
            <a:outerShdw dist="28398" dir="1593903" algn="ctr" rotWithShape="0">
              <a:srgbClr val="969696"/>
            </a:outerShdw>
          </a:effectLst>
        </p:spPr>
        <p:txBody>
          <a:bodyPr lIns="79222" tIns="39612" rIns="79222" bIns="39612"/>
          <a:lstStyle/>
          <a:p>
            <a:pPr marL="0" marR="0" lvl="0" indent="0" defTabSz="914423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0" y="6073140"/>
            <a:ext cx="12192000" cy="784860"/>
          </a:xfrm>
          <a:prstGeom prst="rect">
            <a:avLst/>
          </a:prstGeom>
          <a:solidFill>
            <a:srgbClr val="1E7FB8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79222" tIns="39612" rIns="79222" bIns="39612" anchor="ctr"/>
          <a:lstStyle/>
          <a:p>
            <a:pPr algn="l" rt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400" b="1" kern="1200" dirty="0">
                <a:solidFill>
                  <a:srgbClr val="000066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12" name="Picture 18">
            <a:extLst>
              <a:ext uri="{FF2B5EF4-FFF2-40B4-BE49-F238E27FC236}">
                <a16:creationId xmlns:a16="http://schemas.microsoft.com/office/drawing/2014/main" id="{71942192-4C9C-47CD-A2E8-DCE6ACAED8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46361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99219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75C31CC-3311-4796-8E8F-AB921C4F652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75384" y="285750"/>
            <a:ext cx="10642708" cy="896112"/>
          </a:xfrm>
        </p:spPr>
        <p:txBody>
          <a:bodyPr anchor="ctr">
            <a:noAutofit/>
          </a:bodyPr>
          <a:lstStyle>
            <a:lvl1pPr algn="ctr"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74648" y="2085631"/>
            <a:ext cx="10643445" cy="40684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Line 4"/>
          <p:cNvSpPr>
            <a:spLocks noChangeShapeType="1"/>
          </p:cNvSpPr>
          <p:nvPr userDrawn="1"/>
        </p:nvSpPr>
        <p:spPr bwMode="auto">
          <a:xfrm>
            <a:off x="0" y="1263697"/>
            <a:ext cx="12192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ffectLst>
            <a:outerShdw dist="28398" dir="1593903" algn="ctr" rotWithShape="0">
              <a:srgbClr val="969696"/>
            </a:outerShdw>
          </a:effectLst>
        </p:spPr>
        <p:txBody>
          <a:bodyPr lIns="79222" tIns="39612" rIns="79222" bIns="39612"/>
          <a:lstStyle/>
          <a:p>
            <a:pPr marL="0" marR="0" lvl="0" indent="0" defTabSz="914423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0" y="6073140"/>
            <a:ext cx="12192000" cy="784860"/>
          </a:xfrm>
          <a:prstGeom prst="rect">
            <a:avLst/>
          </a:prstGeom>
          <a:solidFill>
            <a:srgbClr val="1E7FB8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79222" tIns="39612" rIns="79222" bIns="39612" anchor="ctr"/>
          <a:lstStyle/>
          <a:p>
            <a:pPr algn="l" rt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400" b="1" kern="1200" dirty="0">
                <a:solidFill>
                  <a:srgbClr val="000066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12" name="Picture 18">
            <a:extLst>
              <a:ext uri="{FF2B5EF4-FFF2-40B4-BE49-F238E27FC236}">
                <a16:creationId xmlns:a16="http://schemas.microsoft.com/office/drawing/2014/main" id="{1D2FC2B7-1E23-4C61-BEF2-E5BFC672C3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28659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363059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9B0AC3-6466-4241-8C42-1714C01A1ED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PanelGray"/>
          <p:cNvSpPr/>
          <p:nvPr userDrawn="1"/>
        </p:nvSpPr>
        <p:spPr bwMode="ltGray">
          <a:xfrm>
            <a:off x="1" y="3"/>
            <a:ext cx="4736827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707754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rgbClr val="1E7FB8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95836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4401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23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1089971" y="1457803"/>
            <a:ext cx="1128806" cy="918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924632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rgbClr val="1E7FB8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0798579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4401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5384" y="3826800"/>
            <a:ext cx="10642708" cy="2041200"/>
          </a:xfrm>
        </p:spPr>
        <p:txBody>
          <a:bodyPr anchor="t">
            <a:noAutofit/>
          </a:bodyPr>
          <a:lstStyle>
            <a:lvl1pPr>
              <a:defRPr sz="4401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775386" y="3680016"/>
            <a:ext cx="11416615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38465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rgbClr val="1E7FB8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044165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CE09BE9-1771-40BE-9BA2-56291AED985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118217" y="0"/>
            <a:ext cx="513969" cy="6858000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2" y="0"/>
            <a:ext cx="413273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775386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9" name="Picture 18">
            <a:extLst>
              <a:ext uri="{FF2B5EF4-FFF2-40B4-BE49-F238E27FC236}">
                <a16:creationId xmlns:a16="http://schemas.microsoft.com/office/drawing/2014/main" id="{1CBC6CA9-B33B-42B0-8DD0-723E6BD4EE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79732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rgbClr val="1E7FB8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79641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C4BD3B4-C214-4CE6-A5BC-EABB0098C5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45323" y="0"/>
            <a:ext cx="513969" cy="6858000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1" y="0"/>
            <a:ext cx="715289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775386" y="622801"/>
            <a:ext cx="6090153" cy="387798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9" name="Picture 18">
            <a:extLst>
              <a:ext uri="{FF2B5EF4-FFF2-40B4-BE49-F238E27FC236}">
                <a16:creationId xmlns:a16="http://schemas.microsoft.com/office/drawing/2014/main" id="{269DC0EA-09C6-473A-8AE2-FAC16CBF4C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77402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navy+blu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1AFBD7E-873F-FC49-A840-08A744808D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2" y="5852984"/>
            <a:ext cx="2314637" cy="70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54999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rgbClr val="1E7FB8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00106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7" y="0"/>
            <a:ext cx="513170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4136372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13" name="Picture 18">
            <a:extLst>
              <a:ext uri="{FF2B5EF4-FFF2-40B4-BE49-F238E27FC236}">
                <a16:creationId xmlns:a16="http://schemas.microsoft.com/office/drawing/2014/main" id="{0CA67500-2A46-424B-9671-4ACD7676CE3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lum bright="-40000" contrast="-40000"/>
          </a:blip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17669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rgbClr val="1E7FB8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5073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92565" y="0"/>
            <a:ext cx="513969" cy="6858000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75384" y="1785600"/>
            <a:ext cx="4269724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15" name="Picture 18">
            <a:extLst>
              <a:ext uri="{FF2B5EF4-FFF2-40B4-BE49-F238E27FC236}">
                <a16:creationId xmlns:a16="http://schemas.microsoft.com/office/drawing/2014/main" id="{DF0A4969-B699-4B19-B768-226E984FB6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lum bright="-40000" contrast="-40000"/>
          </a:blip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8514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rgbClr val="1E7FB8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5079919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70285" y="0"/>
            <a:ext cx="513170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gray">
          <a:xfrm>
            <a:off x="7774523" y="0"/>
            <a:ext cx="441747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775385" y="1785600"/>
            <a:ext cx="608985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13" name="Picture 18">
            <a:extLst>
              <a:ext uri="{FF2B5EF4-FFF2-40B4-BE49-F238E27FC236}">
                <a16:creationId xmlns:a16="http://schemas.microsoft.com/office/drawing/2014/main" id="{1ACE73B4-AB7F-44CC-BE32-7AF791BD7D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lum bright="-40000" contrast="-40000"/>
          </a:blip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4251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rgbClr val="1E7FB8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302881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7EF350-CB0B-466C-AABE-CC68801C3E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1" name="ArrowPanelGray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644" y="3590399"/>
            <a:ext cx="168030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10" name="Picture 18">
            <a:extLst>
              <a:ext uri="{FF2B5EF4-FFF2-40B4-BE49-F238E27FC236}">
                <a16:creationId xmlns:a16="http://schemas.microsoft.com/office/drawing/2014/main" id="{3ED9D2D7-C8D6-44B7-B6AA-7A791B0804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25885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170624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1" name="ArrowPanelGray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1E7FB8"/>
              </a:gs>
              <a:gs pos="100000">
                <a:srgbClr val="1E7FB8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775386" y="2680199"/>
            <a:ext cx="2442215" cy="1497600"/>
          </a:xfrm>
        </p:spPr>
        <p:txBody>
          <a:bodyPr anchor="ctr" anchorCtr="0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79674" y="3402831"/>
            <a:ext cx="3316512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11" name="Picture 18">
            <a:extLst>
              <a:ext uri="{FF2B5EF4-FFF2-40B4-BE49-F238E27FC236}">
                <a16:creationId xmlns:a16="http://schemas.microsoft.com/office/drawing/2014/main" id="{855B15A8-4CCA-42F6-B3B4-8589CF8F8D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lum bright="-40000" contrast="-40000"/>
          </a:blip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87472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rgbClr val="1E7FB8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9066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469EA38-F847-4100-B55E-676D60EF18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accent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743" y="3394395"/>
            <a:ext cx="1598246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10" name="Picture 18">
            <a:extLst>
              <a:ext uri="{FF2B5EF4-FFF2-40B4-BE49-F238E27FC236}">
                <a16:creationId xmlns:a16="http://schemas.microsoft.com/office/drawing/2014/main" id="{4E41FD0C-EB07-49FA-9A35-37FA1BE5393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80914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71854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2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1E7FB8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213873" y="3416300"/>
            <a:ext cx="3316512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11" name="Picture 18">
            <a:extLst>
              <a:ext uri="{FF2B5EF4-FFF2-40B4-BE49-F238E27FC236}">
                <a16:creationId xmlns:a16="http://schemas.microsoft.com/office/drawing/2014/main" id="{20D29BAA-1FED-47E2-BA68-A96DFFEFC4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lum bright="-40000" contrast="-40000"/>
          </a:blip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63283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rgbClr val="1E7FB8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5967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155088-CC30-41DA-A818-74E70FFCC4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4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775385" y="622801"/>
            <a:ext cx="4550338" cy="3877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644" y="3589606"/>
            <a:ext cx="168030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10" name="Picture 18">
            <a:extLst>
              <a:ext uri="{FF2B5EF4-FFF2-40B4-BE49-F238E27FC236}">
                <a16:creationId xmlns:a16="http://schemas.microsoft.com/office/drawing/2014/main" id="{2EAE4848-DA37-4687-9D20-BD41C3DAD8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92859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019241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4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1E7FB8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775385" y="622801"/>
            <a:ext cx="4550338" cy="38779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082660" y="3407806"/>
            <a:ext cx="3316512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11" name="Picture 18">
            <a:extLst>
              <a:ext uri="{FF2B5EF4-FFF2-40B4-BE49-F238E27FC236}">
                <a16:creationId xmlns:a16="http://schemas.microsoft.com/office/drawing/2014/main" id="{2C21100E-0969-4FCF-BFCA-5B5EE0783E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lum bright="-40000" contrast="-40000"/>
          </a:blip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72301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rgbClr val="1E7FB8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004267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9CD6E01-5370-4890-AEF6-72B79BD329F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775386" y="622801"/>
            <a:ext cx="6090153" cy="387798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623" y="3589606"/>
            <a:ext cx="168030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725089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navy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F07AB91-D215-9B41-9808-46FFB4D27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30892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23515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rgbClr val="1E7FB8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775386" y="622801"/>
            <a:ext cx="6090153" cy="387798"/>
          </a:xfrm>
        </p:spPr>
        <p:txBody>
          <a:bodyPr/>
          <a:lstStyle>
            <a:lvl1pPr>
              <a:defRPr sz="280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055143" y="3407806"/>
            <a:ext cx="3316512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13" name="Picture 18">
            <a:extLst>
              <a:ext uri="{FF2B5EF4-FFF2-40B4-BE49-F238E27FC236}">
                <a16:creationId xmlns:a16="http://schemas.microsoft.com/office/drawing/2014/main" id="{5A5B37CD-BBB2-4939-A76B-5F93DC68343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lum bright="-40000" contrast="-40000"/>
          </a:blip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8739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rgbClr val="1E7FB8"/>
            </a:gs>
            <a:gs pos="100000">
              <a:srgbClr val="1E7FB8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05216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4401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23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9" name="Picture 18">
            <a:extLst>
              <a:ext uri="{FF2B5EF4-FFF2-40B4-BE49-F238E27FC236}">
                <a16:creationId xmlns:a16="http://schemas.microsoft.com/office/drawing/2014/main" id="{CB1E7E1F-22CE-42DA-AEB5-20236CCC6FA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69860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463990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4401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23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1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775385" y="625475"/>
            <a:ext cx="1129498" cy="9180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8" name="Picture 18">
            <a:extLst>
              <a:ext uri="{FF2B5EF4-FFF2-40B4-BE49-F238E27FC236}">
                <a16:creationId xmlns:a16="http://schemas.microsoft.com/office/drawing/2014/main" id="{743EDDAB-62E1-4D3E-9D52-9CE25B2277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lum bright="-40000" contrast="-40000"/>
          </a:blip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62982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789058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7" name="Bubble"/>
          <p:cNvGrpSpPr/>
          <p:nvPr userDrawn="1"/>
        </p:nvGrpSpPr>
        <p:grpSpPr>
          <a:xfrm>
            <a:off x="1" y="3"/>
            <a:ext cx="12191998" cy="5859885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7004221" y="365855"/>
            <a:ext cx="769257" cy="9606303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8" name="TextBox 7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9" name="Picture 18">
            <a:extLst>
              <a:ext uri="{FF2B5EF4-FFF2-40B4-BE49-F238E27FC236}">
                <a16:creationId xmlns:a16="http://schemas.microsoft.com/office/drawing/2014/main" id="{B60B1E56-B12C-4C0F-AD70-DDB92DD53A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5989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125771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87798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236080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7394421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338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rgbClr val="1E7FB8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626032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5" name="Picture 18">
            <a:extLst>
              <a:ext uri="{FF2B5EF4-FFF2-40B4-BE49-F238E27FC236}">
                <a16:creationId xmlns:a16="http://schemas.microsoft.com/office/drawing/2014/main" id="{41D5BFEA-C663-4F41-AA7E-E056B83F2E1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95756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95736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1205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1110735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8">
            <a:extLst>
              <a:ext uri="{FF2B5EF4-FFF2-40B4-BE49-F238E27FC236}">
                <a16:creationId xmlns:a16="http://schemas.microsoft.com/office/drawing/2014/main" id="{749BCEEA-F9D0-4292-9CF2-E65908C759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15397" y="4442542"/>
            <a:ext cx="4405078" cy="1954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25660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45615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" name="A4Grid"/>
          <p:cNvGrpSpPr/>
          <p:nvPr userDrawn="1"/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60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15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16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17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18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19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20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39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40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41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42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43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61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71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9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81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02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03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04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06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07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08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10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11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12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13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14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62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5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6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63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4" name="Footnote example"/>
            <p:cNvSpPr txBox="1">
              <a:spLocks noChangeAspect="1"/>
            </p:cNvSpPr>
            <p:nvPr userDrawn="1"/>
          </p:nvSpPr>
          <p:spPr>
            <a:xfrm>
              <a:off x="629398" y="6145200"/>
              <a:ext cx="7283401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 dirty="0">
                  <a:solidFill>
                    <a:srgbClr val="A6A6A6"/>
                  </a:solidFill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</a:pPr>
              <a:r>
                <a:rPr lang="en-US" sz="1000" dirty="0">
                  <a:solidFill>
                    <a:srgbClr val="A6A6A6"/>
                  </a:solidFill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000" dirty="0">
                  <a:solidFill>
                    <a:srgbClr val="A6A6A6"/>
                  </a:solidFill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986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ection Header_navy with bullets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799"/>
            <a:ext cx="5638800" cy="3075869"/>
          </a:xfrm>
        </p:spPr>
        <p:txBody>
          <a:bodyPr>
            <a:normAutofit/>
          </a:bodyPr>
          <a:lstStyle>
            <a:lvl1pPr>
              <a:defRPr sz="42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17084" y="685800"/>
            <a:ext cx="3817716" cy="54609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586040-0D3B-0A43-AF9D-DF0628A08055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A501AEF-ABA1-5B46-9DF6-FA16A49F3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90644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36895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728194-8C80-4ADA-84F6-0806BDE22F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75384" y="285750"/>
            <a:ext cx="10642708" cy="896112"/>
          </a:xfrm>
        </p:spPr>
        <p:txBody>
          <a:bodyPr anchor="ctr">
            <a:noAutofit/>
          </a:bodyPr>
          <a:lstStyle>
            <a:lvl1pPr algn="ctr"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Line 4"/>
          <p:cNvSpPr>
            <a:spLocks noChangeShapeType="1"/>
          </p:cNvSpPr>
          <p:nvPr userDrawn="1"/>
        </p:nvSpPr>
        <p:spPr bwMode="auto">
          <a:xfrm>
            <a:off x="0" y="1263697"/>
            <a:ext cx="12192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ffectLst>
            <a:outerShdw dist="28398" dir="1593903" algn="ctr" rotWithShape="0">
              <a:srgbClr val="969696"/>
            </a:outerShdw>
          </a:effectLst>
        </p:spPr>
        <p:txBody>
          <a:bodyPr lIns="79222" tIns="39612" rIns="79222" bIns="39612"/>
          <a:lstStyle/>
          <a:p>
            <a:pPr marL="0" marR="0" lvl="0" indent="0" defTabSz="914423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auto">
          <a:xfrm>
            <a:off x="0" y="6073140"/>
            <a:ext cx="12192000" cy="784860"/>
          </a:xfrm>
          <a:prstGeom prst="rect">
            <a:avLst/>
          </a:prstGeom>
          <a:solidFill>
            <a:srgbClr val="1E7FB8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79222" tIns="39612" rIns="79222" bIns="39612" anchor="ctr"/>
          <a:lstStyle/>
          <a:p>
            <a:pPr algn="l" rt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400" b="1" kern="1200" dirty="0">
                <a:solidFill>
                  <a:srgbClr val="000066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10" name="Picture 18">
            <a:extLst>
              <a:ext uri="{FF2B5EF4-FFF2-40B4-BE49-F238E27FC236}">
                <a16:creationId xmlns:a16="http://schemas.microsoft.com/office/drawing/2014/main" id="{93CF1F7E-E100-4246-BA1A-412A2C62415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1476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6772851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9877823-8DFF-4EA2-B94D-19438105569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75384" y="285750"/>
            <a:ext cx="10642708" cy="896112"/>
          </a:xfrm>
        </p:spPr>
        <p:txBody>
          <a:bodyPr anchor="ctr">
            <a:noAutofit/>
          </a:bodyPr>
          <a:lstStyle>
            <a:lvl1pPr algn="ctr">
              <a:defRPr sz="2400">
                <a:solidFill>
                  <a:schemeClr val="accent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74648" y="2085631"/>
            <a:ext cx="10643445" cy="405759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56"/>
          <p:cNvSpPr>
            <a:spLocks noGrp="1"/>
          </p:cNvSpPr>
          <p:nvPr>
            <p:ph type="dt" sz="half" idx="14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Line 4"/>
          <p:cNvSpPr>
            <a:spLocks noChangeShapeType="1"/>
          </p:cNvSpPr>
          <p:nvPr userDrawn="1"/>
        </p:nvSpPr>
        <p:spPr bwMode="auto">
          <a:xfrm>
            <a:off x="0" y="1263697"/>
            <a:ext cx="12192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ffectLst>
            <a:outerShdw dist="28398" dir="1593903" algn="ctr" rotWithShape="0">
              <a:srgbClr val="969696"/>
            </a:outerShdw>
          </a:effectLst>
        </p:spPr>
        <p:txBody>
          <a:bodyPr lIns="79222" tIns="39612" rIns="79222" bIns="39612"/>
          <a:lstStyle/>
          <a:p>
            <a:pPr marL="0" marR="0" lvl="0" indent="0" defTabSz="914423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5"/>
          <p:cNvSpPr>
            <a:spLocks noChangeArrowheads="1"/>
          </p:cNvSpPr>
          <p:nvPr userDrawn="1"/>
        </p:nvSpPr>
        <p:spPr bwMode="auto">
          <a:xfrm>
            <a:off x="0" y="6073140"/>
            <a:ext cx="12192000" cy="784860"/>
          </a:xfrm>
          <a:prstGeom prst="rect">
            <a:avLst/>
          </a:prstGeom>
          <a:solidFill>
            <a:srgbClr val="1E7FB8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79222" tIns="39612" rIns="79222" bIns="39612" anchor="ctr"/>
          <a:lstStyle/>
          <a:p>
            <a:pPr algn="l" rtl="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400" b="1" kern="1200" dirty="0">
                <a:solidFill>
                  <a:srgbClr val="000066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  <p:pic>
        <p:nvPicPr>
          <p:cNvPr id="14" name="Picture 18">
            <a:extLst>
              <a:ext uri="{FF2B5EF4-FFF2-40B4-BE49-F238E27FC236}">
                <a16:creationId xmlns:a16="http://schemas.microsoft.com/office/drawing/2014/main" id="{D085BAFF-BCCE-433C-B4BC-43691C7D7A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668297" y="6096969"/>
            <a:ext cx="1749795" cy="73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64026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4144019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24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PanelGray"/>
          <p:cNvSpPr/>
          <p:nvPr userDrawn="1"/>
        </p:nvSpPr>
        <p:spPr bwMode="white">
          <a:xfrm>
            <a:off x="1" y="-1309"/>
            <a:ext cx="4736492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75386" y="2158991"/>
            <a:ext cx="3640123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12" indent="0" algn="ctr">
              <a:buNone/>
              <a:defRPr sz="2000"/>
            </a:lvl2pPr>
            <a:lvl3pPr marL="914423" indent="0" algn="ctr">
              <a:buNone/>
              <a:defRPr sz="1800"/>
            </a:lvl3pPr>
            <a:lvl4pPr marL="1371634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9" indent="0" algn="ctr">
              <a:buNone/>
              <a:defRPr sz="1600"/>
            </a:lvl7pPr>
            <a:lvl8pPr marL="3200480" indent="0" algn="ctr">
              <a:buNone/>
              <a:defRPr sz="1600"/>
            </a:lvl8pPr>
            <a:lvl9pPr marL="3657691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775386" y="1227052"/>
            <a:ext cx="3640123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accent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007552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907752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4401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089969" y="2668041"/>
            <a:ext cx="10013538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23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1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1089969" y="1457803"/>
            <a:ext cx="1128278" cy="9180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79206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6601981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4401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5384" y="3826800"/>
            <a:ext cx="10642708" cy="2041200"/>
          </a:xfrm>
        </p:spPr>
        <p:txBody>
          <a:bodyPr anchor="t">
            <a:noAutofit/>
          </a:bodyPr>
          <a:lstStyle>
            <a:lvl1pPr>
              <a:defRPr sz="440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775385" y="3682800"/>
            <a:ext cx="11418092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83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607639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118217" y="0"/>
            <a:ext cx="513969" cy="6858000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2" y="0"/>
            <a:ext cx="413273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accent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083578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80116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24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45323" y="0"/>
            <a:ext cx="513969" cy="6858000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1" y="0"/>
            <a:ext cx="715289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5" y="622803"/>
            <a:ext cx="6084150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17590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772149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24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960645" y="0"/>
            <a:ext cx="513969" cy="6858000"/>
          </a:xfrm>
          <a:prstGeom prst="rect">
            <a:avLst/>
          </a:prstGeom>
        </p:spPr>
      </p:pic>
      <p:sp>
        <p:nvSpPr>
          <p:cNvPr id="63" name="PanelWhite"/>
          <p:cNvSpPr/>
          <p:nvPr userDrawn="1"/>
        </p:nvSpPr>
        <p:spPr bwMode="white">
          <a:xfrm>
            <a:off x="0" y="0"/>
            <a:ext cx="896821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75384" y="622803"/>
            <a:ext cx="790968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555973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134835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24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21857" y="0"/>
            <a:ext cx="513170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4136372" y="-1309"/>
            <a:ext cx="8055630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963103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097734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32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92565" y="0"/>
            <a:ext cx="513969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5384" y="1785600"/>
            <a:ext cx="4271262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295837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ligh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D1B0992-9F08-4D46-9772-C6DCA591D5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1849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896043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32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270285" y="0"/>
            <a:ext cx="513170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7774523" y="0"/>
            <a:ext cx="4417477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75386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159971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90962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775385" y="2771848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accent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644" y="3590399"/>
            <a:ext cx="168030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98325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116590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28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5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75385" y="2771848"/>
            <a:ext cx="2441354" cy="1314311"/>
          </a:xfrm>
        </p:spPr>
        <p:txBody>
          <a:bodyPr anchor="ctr" anchorCtr="0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779674" y="3402831"/>
            <a:ext cx="3316512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70703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204588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75386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chemeClr val="accent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743" y="3394395"/>
            <a:ext cx="1598246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141993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467039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32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5491025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75386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213873" y="3416300"/>
            <a:ext cx="3316512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71351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3565561"/>
              </p:ext>
            </p:extLst>
          </p:nvPr>
        </p:nvGraphicFramePr>
        <p:xfrm>
          <a:off x="1591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24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4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75386" y="622803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644" y="3589606"/>
            <a:ext cx="168030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16395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397546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24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4" y="0"/>
            <a:ext cx="6425909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75386" y="622803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082660" y="3407806"/>
            <a:ext cx="3316512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69165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8422935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24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6" y="622803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623" y="3589606"/>
            <a:ext cx="168030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52870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299559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24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0" y="0"/>
            <a:ext cx="8372123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6" y="622803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055143" y="3407806"/>
            <a:ext cx="3316512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extBox 9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434973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01918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4401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23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6196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light blue+imag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358AE12E-C068-CD44-A709-794E11A2B7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9499" y="-51762"/>
            <a:ext cx="11102500" cy="690976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85721B3-1393-424A-8F5B-131AC862532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68193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2505125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4401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23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1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775385" y="622800"/>
            <a:ext cx="1129498" cy="9180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6568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7848315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grpSp>
        <p:nvGrpSpPr>
          <p:cNvPr id="9" name="Bubble"/>
          <p:cNvGrpSpPr/>
          <p:nvPr userDrawn="1"/>
        </p:nvGrpSpPr>
        <p:grpSpPr>
          <a:xfrm>
            <a:off x="1" y="3"/>
            <a:ext cx="12191998" cy="5859885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7004221" y="365855"/>
            <a:ext cx="769257" cy="9606303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12" name="TextBox 11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810581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372036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marL="0" lvl="0" indent="0" algn="ctr" eaLnBrk="1"/>
            <a:endParaRPr lang="en-US" sz="24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5384" y="622803"/>
            <a:ext cx="1064270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83025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3960985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White"/>
          <p:cNvSpPr/>
          <p:nvPr userDrawn="1"/>
        </p:nvSpPr>
        <p:spPr bwMode="ltGray">
          <a:xfrm>
            <a:off x="0" y="0"/>
            <a:ext cx="4132246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761450" y="2726342"/>
            <a:ext cx="2738215" cy="14053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4401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644" y="3590399"/>
            <a:ext cx="168030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746046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356940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47370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748828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744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95189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849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95289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8">
            <a:extLst>
              <a:ext uri="{FF2B5EF4-FFF2-40B4-BE49-F238E27FC236}">
                <a16:creationId xmlns:a16="http://schemas.microsoft.com/office/drawing/2014/main" id="{9A37DE46-48B4-4F20-8FFA-C03E50D793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05803" y="5020619"/>
            <a:ext cx="4001440" cy="1442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5561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8234147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7" progId="TCLayout.ActiveDocument.1">
                  <p:embed/>
                </p:oleObj>
              </mc:Choice>
              <mc:Fallback>
                <p:oleObj name="think-cell Slide" r:id="rId3" imgW="353" imgH="35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" name="A4Grid"/>
          <p:cNvGrpSpPr/>
          <p:nvPr userDrawn="1"/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145200"/>
              <a:ext cx="7283401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</a:pPr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738832" y="6405037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739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3911551"/>
              </p:ext>
            </p:extLst>
          </p:nvPr>
        </p:nvGraphicFramePr>
        <p:xfrm>
          <a:off x="1591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176156" y="4552781"/>
            <a:ext cx="1072246" cy="87242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>
                  <a:lumMod val="100000"/>
                </a:srgb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>
            <p:custDataLst>
              <p:tags r:id="rId3"/>
            </p:custDataLst>
          </p:nvPr>
        </p:nvSpPr>
        <p:spPr>
          <a:xfrm>
            <a:off x="3424806" y="4552778"/>
            <a:ext cx="1617231" cy="1312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>
                  <a:lumMod val="100000"/>
                </a:srgb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775385" y="914402"/>
            <a:ext cx="4266652" cy="3494377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401" dirty="0">
                <a:solidFill>
                  <a:srgbClr val="FFFFFF">
                    <a:lumMod val="100000"/>
                  </a:srgbClr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739803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62.xml"/><Relationship Id="rId42" Type="http://schemas.openxmlformats.org/officeDocument/2006/relationships/slideLayout" Target="../slideLayouts/slideLayout83.xml"/><Relationship Id="rId47" Type="http://schemas.openxmlformats.org/officeDocument/2006/relationships/slideLayout" Target="../slideLayouts/slideLayout88.xml"/><Relationship Id="rId63" Type="http://schemas.openxmlformats.org/officeDocument/2006/relationships/slideLayout" Target="../slideLayouts/slideLayout104.xml"/><Relationship Id="rId68" Type="http://schemas.openxmlformats.org/officeDocument/2006/relationships/theme" Target="../theme/theme2.xml"/><Relationship Id="rId7" Type="http://schemas.openxmlformats.org/officeDocument/2006/relationships/slideLayout" Target="../slideLayouts/slideLayout48.xml"/><Relationship Id="rId71" Type="http://schemas.openxmlformats.org/officeDocument/2006/relationships/oleObject" Target="../embeddings/oleObject1.bin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45" Type="http://schemas.openxmlformats.org/officeDocument/2006/relationships/slideLayout" Target="../slideLayouts/slideLayout86.xml"/><Relationship Id="rId53" Type="http://schemas.openxmlformats.org/officeDocument/2006/relationships/slideLayout" Target="../slideLayouts/slideLayout94.xml"/><Relationship Id="rId58" Type="http://schemas.openxmlformats.org/officeDocument/2006/relationships/slideLayout" Target="../slideLayouts/slideLayout99.xml"/><Relationship Id="rId66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46.xml"/><Relationship Id="rId61" Type="http://schemas.openxmlformats.org/officeDocument/2006/relationships/slideLayout" Target="../slideLayouts/slideLayout102.xml"/><Relationship Id="rId1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slideLayout" Target="../slideLayouts/slideLayout84.xml"/><Relationship Id="rId48" Type="http://schemas.openxmlformats.org/officeDocument/2006/relationships/slideLayout" Target="../slideLayouts/slideLayout89.xml"/><Relationship Id="rId56" Type="http://schemas.openxmlformats.org/officeDocument/2006/relationships/slideLayout" Target="../slideLayouts/slideLayout97.xml"/><Relationship Id="rId64" Type="http://schemas.openxmlformats.org/officeDocument/2006/relationships/slideLayout" Target="../slideLayouts/slideLayout105.xml"/><Relationship Id="rId69" Type="http://schemas.openxmlformats.org/officeDocument/2006/relationships/tags" Target="../tags/tag1.xml"/><Relationship Id="rId8" Type="http://schemas.openxmlformats.org/officeDocument/2006/relationships/slideLayout" Target="../slideLayouts/slideLayout49.xml"/><Relationship Id="rId51" Type="http://schemas.openxmlformats.org/officeDocument/2006/relationships/slideLayout" Target="../slideLayouts/slideLayout92.xml"/><Relationship Id="rId72" Type="http://schemas.openxmlformats.org/officeDocument/2006/relationships/image" Target="../media/image19.emf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46" Type="http://schemas.openxmlformats.org/officeDocument/2006/relationships/slideLayout" Target="../slideLayouts/slideLayout87.xml"/><Relationship Id="rId59" Type="http://schemas.openxmlformats.org/officeDocument/2006/relationships/slideLayout" Target="../slideLayouts/slideLayout100.xml"/><Relationship Id="rId67" Type="http://schemas.openxmlformats.org/officeDocument/2006/relationships/slideLayout" Target="../slideLayouts/slideLayout108.xml"/><Relationship Id="rId20" Type="http://schemas.openxmlformats.org/officeDocument/2006/relationships/slideLayout" Target="../slideLayouts/slideLayout61.xml"/><Relationship Id="rId41" Type="http://schemas.openxmlformats.org/officeDocument/2006/relationships/slideLayout" Target="../slideLayouts/slideLayout82.xml"/><Relationship Id="rId54" Type="http://schemas.openxmlformats.org/officeDocument/2006/relationships/slideLayout" Target="../slideLayouts/slideLayout95.xml"/><Relationship Id="rId62" Type="http://schemas.openxmlformats.org/officeDocument/2006/relationships/slideLayout" Target="../slideLayouts/slideLayout103.xml"/><Relationship Id="rId70" Type="http://schemas.openxmlformats.org/officeDocument/2006/relationships/tags" Target="../tags/tag2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49" Type="http://schemas.openxmlformats.org/officeDocument/2006/relationships/slideLayout" Target="../slideLayouts/slideLayout90.xml"/><Relationship Id="rId57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72.xml"/><Relationship Id="rId44" Type="http://schemas.openxmlformats.org/officeDocument/2006/relationships/slideLayout" Target="../slideLayouts/slideLayout85.xml"/><Relationship Id="rId52" Type="http://schemas.openxmlformats.org/officeDocument/2006/relationships/slideLayout" Target="../slideLayouts/slideLayout93.xml"/><Relationship Id="rId60" Type="http://schemas.openxmlformats.org/officeDocument/2006/relationships/slideLayout" Target="../slideLayouts/slideLayout101.xml"/><Relationship Id="rId65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9" Type="http://schemas.openxmlformats.org/officeDocument/2006/relationships/slideLayout" Target="../slideLayouts/slideLayout80.xml"/><Relationship Id="rId34" Type="http://schemas.openxmlformats.org/officeDocument/2006/relationships/slideLayout" Target="../slideLayouts/slideLayout75.xml"/><Relationship Id="rId50" Type="http://schemas.openxmlformats.org/officeDocument/2006/relationships/slideLayout" Target="../slideLayouts/slideLayout91.xml"/><Relationship Id="rId55" Type="http://schemas.openxmlformats.org/officeDocument/2006/relationships/slideLayout" Target="../slideLayouts/slideLayout9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1342D1-2D03-6345-A214-DB5C9B4F3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3F734F-57A1-F647-8BF4-103A6F49AE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25625"/>
            <a:ext cx="11277600" cy="4346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C44B8F-6FB1-E142-BB39-118BD2282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0172" y="6397384"/>
            <a:ext cx="5154592" cy="32409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en-US" b="1" dirty="0">
                <a:solidFill>
                  <a:srgbClr val="1E0A3C"/>
                </a:solidFill>
                <a:latin typeface="Neue Plak"/>
              </a:rPr>
              <a:t>Nepal National Summit of Health and Population Scientists, 10 April 2024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B1056B-352D-9345-9A93-0EC73276E8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4764" y="6397384"/>
            <a:ext cx="380035" cy="3206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014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81" r:id="rId4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88">
          <p15:clr>
            <a:srgbClr val="F26B43"/>
          </p15:clr>
        </p15:guide>
        <p15:guide id="4" orient="horz" pos="288">
          <p15:clr>
            <a:srgbClr val="F26B43"/>
          </p15:clr>
        </p15:guide>
        <p15:guide id="5" pos="7392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orient="horz" pos="4032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pos="2592">
          <p15:clr>
            <a:srgbClr val="F26B43"/>
          </p15:clr>
        </p15:guide>
        <p15:guide id="10" pos="2688">
          <p15:clr>
            <a:srgbClr val="F26B43"/>
          </p15:clr>
        </p15:guide>
        <p15:guide id="11" pos="4992">
          <p15:clr>
            <a:srgbClr val="F26B43"/>
          </p15:clr>
        </p15:guide>
        <p15:guide id="12" pos="5088">
          <p15:clr>
            <a:srgbClr val="F26B43"/>
          </p15:clr>
        </p15:guide>
        <p15:guide id="13" orient="horz" pos="115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329832155"/>
              </p:ext>
            </p:extLst>
          </p:nvPr>
        </p:nvGraphicFramePr>
        <p:xfrm>
          <a:off x="1591" y="1592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1" imgW="270" imgH="270" progId="TCLayout.ActiveDocument.1">
                  <p:embed/>
                </p:oleObj>
              </mc:Choice>
              <mc:Fallback>
                <p:oleObj name="think-cell Slide" r:id="rId7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0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400" b="1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75384" y="2080800"/>
            <a:ext cx="10642708" cy="378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775384" y="622803"/>
            <a:ext cx="10642708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90049" y="6299267"/>
            <a:ext cx="437735" cy="3326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indent="0" algn="r" defTabSz="9144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00" kern="1200" smtClean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1200" kern="1200" dirty="0">
                <a:solidFill>
                  <a:srgbClr val="72BBE8"/>
                </a:solidFill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281450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  <p:sldLayoutId id="2147483734" r:id="rId21"/>
    <p:sldLayoutId id="2147483735" r:id="rId22"/>
    <p:sldLayoutId id="2147483736" r:id="rId23"/>
    <p:sldLayoutId id="2147483737" r:id="rId24"/>
    <p:sldLayoutId id="2147483738" r:id="rId25"/>
    <p:sldLayoutId id="2147483739" r:id="rId26"/>
    <p:sldLayoutId id="2147483740" r:id="rId27"/>
    <p:sldLayoutId id="2147483741" r:id="rId28"/>
    <p:sldLayoutId id="2147483742" r:id="rId29"/>
    <p:sldLayoutId id="2147483743" r:id="rId30"/>
    <p:sldLayoutId id="2147483744" r:id="rId31"/>
    <p:sldLayoutId id="2147483745" r:id="rId32"/>
    <p:sldLayoutId id="2147483746" r:id="rId33"/>
    <p:sldLayoutId id="2147483747" r:id="rId34"/>
    <p:sldLayoutId id="2147483748" r:id="rId35"/>
    <p:sldLayoutId id="2147483749" r:id="rId36"/>
    <p:sldLayoutId id="2147483750" r:id="rId37"/>
    <p:sldLayoutId id="2147483751" r:id="rId38"/>
    <p:sldLayoutId id="2147483752" r:id="rId39"/>
    <p:sldLayoutId id="2147483753" r:id="rId40"/>
    <p:sldLayoutId id="2147483754" r:id="rId41"/>
    <p:sldLayoutId id="2147483755" r:id="rId42"/>
    <p:sldLayoutId id="2147483756" r:id="rId43"/>
    <p:sldLayoutId id="2147483757" r:id="rId44"/>
    <p:sldLayoutId id="2147483758" r:id="rId45"/>
    <p:sldLayoutId id="2147483759" r:id="rId46"/>
    <p:sldLayoutId id="2147483760" r:id="rId47"/>
    <p:sldLayoutId id="2147483761" r:id="rId48"/>
    <p:sldLayoutId id="2147483762" r:id="rId49"/>
    <p:sldLayoutId id="2147483763" r:id="rId50"/>
    <p:sldLayoutId id="2147483764" r:id="rId51"/>
    <p:sldLayoutId id="2147483765" r:id="rId52"/>
    <p:sldLayoutId id="2147483766" r:id="rId53"/>
    <p:sldLayoutId id="2147483767" r:id="rId54"/>
    <p:sldLayoutId id="2147483768" r:id="rId55"/>
    <p:sldLayoutId id="2147483769" r:id="rId56"/>
    <p:sldLayoutId id="2147483770" r:id="rId57"/>
    <p:sldLayoutId id="2147483771" r:id="rId58"/>
    <p:sldLayoutId id="2147483772" r:id="rId59"/>
    <p:sldLayoutId id="2147483773" r:id="rId60"/>
    <p:sldLayoutId id="2147483774" r:id="rId61"/>
    <p:sldLayoutId id="2147483775" r:id="rId62"/>
    <p:sldLayoutId id="2147483776" r:id="rId63"/>
    <p:sldLayoutId id="2147483777" r:id="rId64"/>
    <p:sldLayoutId id="2147483778" r:id="rId65"/>
    <p:sldLayoutId id="2147483779" r:id="rId66"/>
    <p:sldLayoutId id="2147483780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23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8" indent="-172804" algn="l" defTabSz="914423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13" indent="-165604" algn="l" defTabSz="914423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23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2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82" indent="-152404" algn="l" defTabSz="914423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23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1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23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23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0">
          <p15:clr>
            <a:srgbClr val="F26B43"/>
          </p15:clr>
        </p15:guide>
        <p15:guide id="2" pos="486">
          <p15:clr>
            <a:srgbClr val="F26B43"/>
          </p15:clr>
        </p15:guide>
        <p15:guide id="3" pos="7194">
          <p15:clr>
            <a:srgbClr val="F26B43"/>
          </p15:clr>
        </p15:guide>
        <p15:guide id="4" orient="horz" pos="387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ho.int/clinical-trials-registry-platform/the-ictrp-search-portal" TargetMode="External"/><Relationship Id="rId13" Type="http://schemas.openxmlformats.org/officeDocument/2006/relationships/hyperlink" Target="https://www.who.int/initiatives/evidence-informed-policy-network" TargetMode="External"/><Relationship Id="rId3" Type="http://schemas.openxmlformats.org/officeDocument/2006/relationships/hyperlink" Target="https://www.who.int/teams/digital-health-and-innovation/harnessing-artificial-intelligence-for-health" TargetMode="External"/><Relationship Id="rId7" Type="http://schemas.openxmlformats.org/officeDocument/2006/relationships/hyperlink" Target="https://www.who.int/observatories/global-observatory-on-health-research-and-development" TargetMode="External"/><Relationship Id="rId12" Type="http://schemas.openxmlformats.org/officeDocument/2006/relationships/hyperlink" Target="https://www.who.int/our-work/science-division/research-for-health/product-development-partnerships" TargetMode="External"/><Relationship Id="rId2" Type="http://schemas.openxmlformats.org/officeDocument/2006/relationships/hyperlink" Target="https://www.who.int/activities/who-foresight---monitoring-emerging-technologies-and-building-futures-thinking" TargetMode="External"/><Relationship Id="rId1" Type="http://schemas.openxmlformats.org/officeDocument/2006/relationships/slideLayout" Target="../slideLayouts/slideLayout28.xml"/><Relationship Id="rId6" Type="http://schemas.openxmlformats.org/officeDocument/2006/relationships/hyperlink" Target="https://www.who.int/health-topics/human-genome-editing#tab=tab_1" TargetMode="External"/><Relationship Id="rId11" Type="http://schemas.openxmlformats.org/officeDocument/2006/relationships/hyperlink" Target="https://www.who.int/activities/optimizing-research-and-development-processes-for-accelerated-access-to-health-products/who-coordinated-scientific-advice-for-health-product-r-d" TargetMode="External"/><Relationship Id="rId5" Type="http://schemas.openxmlformats.org/officeDocument/2006/relationships/hyperlink" Target="https://www.who.int/publications/i/item/9789240056107" TargetMode="External"/><Relationship Id="rId10" Type="http://schemas.openxmlformats.org/officeDocument/2006/relationships/hyperlink" Target="https://www.who.int/observatories/global-observatory-on-health-research-and-development/analyses-and-syntheses/target-product-profile/who-target-product-profiles" TargetMode="External"/><Relationship Id="rId4" Type="http://schemas.openxmlformats.org/officeDocument/2006/relationships/hyperlink" Target="https://www.who.int/health-topics/genomics#tab=tab_1" TargetMode="External"/><Relationship Id="rId9" Type="http://schemas.openxmlformats.org/officeDocument/2006/relationships/hyperlink" Target="https://iris.who.int/handle/10665/334408" TargetMode="External"/><Relationship Id="rId14" Type="http://schemas.openxmlformats.org/officeDocument/2006/relationships/hyperlink" Target="https://www.who.int/initiatives/gap-f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13" Type="http://schemas.openxmlformats.org/officeDocument/2006/relationships/image" Target="../media/image35.png"/><Relationship Id="rId18" Type="http://schemas.openxmlformats.org/officeDocument/2006/relationships/image" Target="../media/image40.svg"/><Relationship Id="rId3" Type="http://schemas.openxmlformats.org/officeDocument/2006/relationships/diagramLayout" Target="../diagrams/layout2.xml"/><Relationship Id="rId7" Type="http://schemas.openxmlformats.org/officeDocument/2006/relationships/image" Target="../media/image29.png"/><Relationship Id="rId12" Type="http://schemas.openxmlformats.org/officeDocument/2006/relationships/image" Target="../media/image34.svg"/><Relationship Id="rId17" Type="http://schemas.openxmlformats.org/officeDocument/2006/relationships/image" Target="../media/image39.png"/><Relationship Id="rId2" Type="http://schemas.openxmlformats.org/officeDocument/2006/relationships/diagramData" Target="../diagrams/data2.xml"/><Relationship Id="rId16" Type="http://schemas.openxmlformats.org/officeDocument/2006/relationships/image" Target="../media/image38.svg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2.xml"/><Relationship Id="rId11" Type="http://schemas.openxmlformats.org/officeDocument/2006/relationships/image" Target="../media/image33.png"/><Relationship Id="rId5" Type="http://schemas.openxmlformats.org/officeDocument/2006/relationships/diagramColors" Target="../diagrams/colors2.xml"/><Relationship Id="rId15" Type="http://schemas.openxmlformats.org/officeDocument/2006/relationships/image" Target="../media/image37.png"/><Relationship Id="rId10" Type="http://schemas.openxmlformats.org/officeDocument/2006/relationships/image" Target="../media/image32.sv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31.png"/><Relationship Id="rId14" Type="http://schemas.openxmlformats.org/officeDocument/2006/relationships/image" Target="../media/image36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ho.int/clinical-trials-registry-platform/the-ictrp-search-portal" TargetMode="External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43.jp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45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fif"/><Relationship Id="rId2" Type="http://schemas.openxmlformats.org/officeDocument/2006/relationships/image" Target="../media/image46.emf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9.png"/><Relationship Id="rId4" Type="http://schemas.openxmlformats.org/officeDocument/2006/relationships/image" Target="../media/image4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1A228B-3147-D94F-866B-A8FAAD6D0A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2591" y="928656"/>
            <a:ext cx="11646817" cy="4018556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000" dirty="0"/>
              <a:t>How clinical research can advance health outcomes in Nepal: implications from the World Health Assembly resolution on clinical trials</a:t>
            </a:r>
            <a:br>
              <a:rPr lang="en-US" dirty="0"/>
            </a:br>
            <a:br>
              <a:rPr lang="en-US" dirty="0"/>
            </a:br>
            <a:r>
              <a:rPr lang="en-US" sz="3600" dirty="0"/>
              <a:t>Vasee Moorthy FRCP PhD</a:t>
            </a:r>
            <a:br>
              <a:rPr lang="en-US" sz="3600" dirty="0"/>
            </a:br>
            <a:br>
              <a:rPr lang="en-US" sz="3600" dirty="0"/>
            </a:br>
            <a:r>
              <a:rPr lang="en-US" sz="2700" dirty="0"/>
              <a:t>Senior Advisor</a:t>
            </a:r>
            <a:br>
              <a:rPr lang="en-US" sz="2700" dirty="0"/>
            </a:br>
            <a:r>
              <a:rPr lang="en-US" sz="2700" dirty="0"/>
              <a:t>Research for Health Department</a:t>
            </a:r>
            <a:br>
              <a:rPr lang="en-US" sz="2700" dirty="0"/>
            </a:br>
            <a:r>
              <a:rPr lang="en-US" sz="2700" dirty="0"/>
              <a:t>Science Division</a:t>
            </a:r>
            <a:br>
              <a:rPr lang="en-US" sz="2700" dirty="0"/>
            </a:br>
            <a:r>
              <a:rPr lang="en-US" sz="2700" dirty="0"/>
              <a:t>WHO, Geneva</a:t>
            </a:r>
            <a:br>
              <a:rPr lang="en-US" sz="3600" dirty="0"/>
            </a:br>
            <a:br>
              <a:rPr lang="en-US" dirty="0"/>
            </a:br>
            <a:br>
              <a:rPr lang="en-US" dirty="0"/>
            </a:b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EC7FF3A-CA73-1077-3DD0-EA148EC5532B}"/>
              </a:ext>
            </a:extLst>
          </p:cNvPr>
          <p:cNvSpPr txBox="1"/>
          <p:nvPr/>
        </p:nvSpPr>
        <p:spPr>
          <a:xfrm>
            <a:off x="4011569" y="5144514"/>
            <a:ext cx="799381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br>
              <a:rPr lang="en-US" sz="3200" dirty="0"/>
            </a:br>
            <a:r>
              <a:rPr lang="en-US" sz="3200" dirty="0">
                <a:solidFill>
                  <a:schemeClr val="bg1"/>
                </a:solidFill>
              </a:rPr>
              <a:t>Nepal National Summit of Health and Population Scientists, 10 April 2024</a:t>
            </a:r>
          </a:p>
        </p:txBody>
      </p:sp>
    </p:spTree>
    <p:extLst>
      <p:ext uri="{BB962C8B-B14F-4D97-AF65-F5344CB8AC3E}">
        <p14:creationId xmlns:p14="http://schemas.microsoft.com/office/powerpoint/2010/main" val="3902293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A47DC0-BC94-EE8D-2072-53FEF2B536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24DB08-44AA-CF49-B14A-9A14819AE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AB23710-105D-3EEE-C155-C192FC7677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0309" y="0"/>
            <a:ext cx="88444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783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4789E-ECD9-F6B7-7EDD-CCDAF6B0BA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Similar issues emerged from the regional consultations, leading to an agreed global vis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2320DC-10F5-D27A-E5F1-49035007D8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b="1">
                <a:solidFill>
                  <a:srgbClr val="1E0A3C"/>
                </a:solidFill>
                <a:latin typeface="Neue Plak"/>
              </a:rPr>
              <a:t>Nepal National Summit of Health and Population Scientists, 10 April 2024</a:t>
            </a:r>
            <a:endParaRPr lang="en-US">
              <a:solidFill>
                <a:srgbClr val="39364F"/>
              </a:solidFill>
              <a:latin typeface="Neue Plak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2BEBEC5-C95C-CBD4-758E-71DDAEC19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76AE7D7-C054-86BA-5B03-5F935FAD78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6975" y="2433637"/>
            <a:ext cx="7258050" cy="1990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3154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AB9DF8-1AC0-4788-8CB7-B48B4DA3F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236077"/>
            <a:ext cx="11277600" cy="1004888"/>
          </a:xfrm>
          <a:solidFill>
            <a:schemeClr val="bg1"/>
          </a:solidFill>
        </p:spPr>
        <p:txBody>
          <a:bodyPr/>
          <a:lstStyle/>
          <a:p>
            <a:r>
              <a:rPr lang="en-US" sz="32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Key areas of focus for capacity development going forwards according to inputs received during regional consultation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DA9110-2271-4B84-A47A-4A5C78CD7A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240965"/>
            <a:ext cx="11277600" cy="4376070"/>
          </a:xfrm>
        </p:spPr>
        <p:txBody>
          <a:bodyPr vert="horz" lIns="0" tIns="0" rIns="0" bIns="0" rtlCol="0" anchor="t">
            <a:normAutofit/>
          </a:bodyPr>
          <a:lstStyle/>
          <a:p>
            <a:pPr marL="342900" indent="-342900">
              <a:buFont typeface="Symbol" panose="05050102010706020507" pitchFamily="18" charset="2"/>
              <a:buChar char=""/>
            </a:pP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/>
              </a:rPr>
              <a:t>Developing capabilities for research sustainably, linked to health systems, and kept “warm” through ongoing well designed clinical research; moving away from a “vertical” to a “horizontal” approach while keeping the best aspects of the vertical.</a:t>
            </a: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US" sz="2000" i="1" dirty="0" err="1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/>
              </a:rPr>
              <a:t>Prioritisation</a:t>
            </a: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/>
              </a:rPr>
              <a:t> for identified trials aligned between stakeholders</a:t>
            </a: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/>
              </a:rPr>
              <a:t>Enabling international collaborations</a:t>
            </a: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/>
              </a:rPr>
              <a:t>Improving capacities and efficiency in regulatory and research ethics systems; how to ensure a focus on the key issues in an efficient and risk proportionate way</a:t>
            </a: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/>
              </a:rPr>
              <a:t>Improving efficiency and coordination between elements of the trials ecosystem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Ensuring scientific validity and social value of research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Patient and community engagement norms in clinical trials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US" sz="2000" i="1" dirty="0">
                <a:latin typeface="Calibri" panose="020F0502020204030204" pitchFamily="34" charset="0"/>
                <a:ea typeface="Times New Roman" panose="02020603050405020304" pitchFamily="18" charset="0"/>
              </a:rPr>
              <a:t>Supporting newer models for RCTs (including integration into healthcare, adaptive, platform, digital)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en-US" sz="20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0C9DE-8873-4AE2-BC0A-8EE59968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06159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C1AEE8EF-E0DA-B442-F8F5-3E88D4F48974}"/>
              </a:ext>
            </a:extLst>
          </p:cNvPr>
          <p:cNvSpPr/>
          <p:nvPr/>
        </p:nvSpPr>
        <p:spPr>
          <a:xfrm>
            <a:off x="457199" y="1260104"/>
            <a:ext cx="11277599" cy="1060065"/>
          </a:xfrm>
          <a:prstGeom prst="triangl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Sustainable Strong Continuous National</a:t>
            </a:r>
          </a:p>
          <a:p>
            <a:pPr algn="ctr"/>
            <a:r>
              <a:rPr lang="en-US" b="1" dirty="0"/>
              <a:t>Clinical Research Ecosystem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2E53E32-7659-2AF5-7127-27FAA9D46A1B}"/>
              </a:ext>
            </a:extLst>
          </p:cNvPr>
          <p:cNvSpPr/>
          <p:nvPr/>
        </p:nvSpPr>
        <p:spPr>
          <a:xfrm>
            <a:off x="457202" y="2621300"/>
            <a:ext cx="2272747" cy="22200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ctr"/>
            <a:endParaRPr lang="en-US" sz="1700" dirty="0"/>
          </a:p>
          <a:p>
            <a:pPr algn="ctr" fontAlgn="ctr"/>
            <a:endParaRPr lang="en-US" sz="1700" dirty="0"/>
          </a:p>
          <a:p>
            <a:pPr algn="ctr" fontAlgn="ctr"/>
            <a:r>
              <a:rPr lang="en-US" sz="1700" dirty="0"/>
              <a:t>Enabling national clinical research governance </a:t>
            </a:r>
          </a:p>
          <a:p>
            <a:pPr algn="ctr"/>
            <a:endParaRPr lang="en-US" sz="1700" dirty="0"/>
          </a:p>
          <a:p>
            <a:pPr algn="ctr"/>
            <a:endParaRPr lang="en-US" sz="1700" dirty="0"/>
          </a:p>
          <a:p>
            <a:pPr algn="ctr"/>
            <a:r>
              <a:rPr lang="en-US" sz="1700" dirty="0"/>
              <a:t>Continuous financing</a:t>
            </a:r>
          </a:p>
          <a:p>
            <a:pPr algn="ctr"/>
            <a:endParaRPr lang="en-US" sz="1700" dirty="0"/>
          </a:p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8E13ADE-18F5-6374-24DA-BBB2E160D059}"/>
              </a:ext>
            </a:extLst>
          </p:cNvPr>
          <p:cNvSpPr/>
          <p:nvPr/>
        </p:nvSpPr>
        <p:spPr>
          <a:xfrm>
            <a:off x="3465446" y="2621300"/>
            <a:ext cx="2272747" cy="22200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stitutional and individual clinical research capacity</a:t>
            </a:r>
          </a:p>
          <a:p>
            <a:pPr algn="ctr"/>
            <a:r>
              <a:rPr lang="en-US" dirty="0"/>
              <a:t>Engagement</a:t>
            </a:r>
          </a:p>
          <a:p>
            <a:pPr algn="ctr"/>
            <a:r>
              <a:rPr lang="en-US" dirty="0"/>
              <a:t>Underrepresented population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C167E24-05DF-2713-E9F8-D55D9AC1702F}"/>
              </a:ext>
            </a:extLst>
          </p:cNvPr>
          <p:cNvSpPr/>
          <p:nvPr/>
        </p:nvSpPr>
        <p:spPr>
          <a:xfrm>
            <a:off x="6453808" y="2621300"/>
            <a:ext cx="2272747" cy="22200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search ethics oversight including efficiency</a:t>
            </a:r>
          </a:p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54688EC-6859-1E78-453C-5A73AA987ECE}"/>
              </a:ext>
            </a:extLst>
          </p:cNvPr>
          <p:cNvSpPr/>
          <p:nvPr/>
        </p:nvSpPr>
        <p:spPr>
          <a:xfrm>
            <a:off x="9462052" y="2621300"/>
            <a:ext cx="2272747" cy="22200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gulatory systems including efficienc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8EA554B-75AF-65BE-7A54-927DDEF6E125}"/>
              </a:ext>
            </a:extLst>
          </p:cNvPr>
          <p:cNvSpPr/>
          <p:nvPr/>
        </p:nvSpPr>
        <p:spPr>
          <a:xfrm>
            <a:off x="457200" y="5142526"/>
            <a:ext cx="11277599" cy="40750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Continuous strengthening through monitoring, evaluation and learning (MEL)</a:t>
            </a:r>
          </a:p>
        </p:txBody>
      </p:sp>
    </p:spTree>
    <p:extLst>
      <p:ext uri="{BB962C8B-B14F-4D97-AF65-F5344CB8AC3E}">
        <p14:creationId xmlns:p14="http://schemas.microsoft.com/office/powerpoint/2010/main" val="13711164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AB9DF8-1AC0-4788-8CB7-B48B4DA3F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cs typeface="Times New Roman" panose="02020603050405020304" pitchFamily="18" charset="0"/>
              </a:rPr>
              <a:t>Key themes: Vision emerging from the global forum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DA9110-2271-4B84-A47A-4A5C78CD7A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240965"/>
            <a:ext cx="11277600" cy="4376070"/>
          </a:xfrm>
        </p:spPr>
        <p:txBody>
          <a:bodyPr vert="horz" lIns="0" tIns="0" rIns="0" bIns="0" rtlCol="0" anchor="t">
            <a:normAutofit/>
          </a:bodyPr>
          <a:lstStyle/>
          <a:p>
            <a:pPr marL="342900" lvl="0" indent="-342900">
              <a:buFont typeface="Symbol" panose="05050102010706020507" pitchFamily="18" charset="2"/>
              <a:buChar char=""/>
            </a:pP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/>
            <a:r>
              <a:rPr lang="en-US" sz="2400" b="1" dirty="0">
                <a:cs typeface="Times New Roman" panose="02020603050405020304" pitchFamily="18" charset="0"/>
              </a:rPr>
              <a:t>“Always on, Always busy” </a:t>
            </a:r>
            <a:r>
              <a:rPr lang="en-US" sz="2400" dirty="0">
                <a:cs typeface="Times New Roman" panose="02020603050405020304" pitchFamily="18" charset="0"/>
              </a:rPr>
              <a:t>– move to ongoing trials all the time for endemic use cases, which can pivot in times of crisis</a:t>
            </a:r>
          </a:p>
          <a:p>
            <a:pPr lvl="1"/>
            <a:r>
              <a:rPr lang="en-US" sz="2400" b="1" dirty="0"/>
              <a:t>Risk proportionate </a:t>
            </a:r>
            <a:r>
              <a:rPr lang="en-US" sz="2400" dirty="0"/>
              <a:t>approaches to well-designed and well-implemented trials</a:t>
            </a:r>
            <a:endParaRPr lang="en-US" sz="2400" dirty="0">
              <a:cs typeface="Times New Roman" panose="02020603050405020304" pitchFamily="18" charset="0"/>
            </a:endParaRPr>
          </a:p>
          <a:p>
            <a:pPr lvl="1"/>
            <a:r>
              <a:rPr lang="en-US" sz="2400" b="1" dirty="0">
                <a:cs typeface="Times New Roman" panose="02020603050405020304" pitchFamily="18" charset="0"/>
              </a:rPr>
              <a:t>Domestic funding, enabling trials </a:t>
            </a:r>
            <a:r>
              <a:rPr lang="en-US" sz="2400" dirty="0">
                <a:cs typeface="Times New Roman" panose="02020603050405020304" pitchFamily="18" charset="0"/>
              </a:rPr>
              <a:t>linked to sustained capacities and priorities</a:t>
            </a:r>
          </a:p>
          <a:p>
            <a:pPr lvl="1"/>
            <a:r>
              <a:rPr lang="en-US" sz="2400" dirty="0">
                <a:cs typeface="Times New Roman" panose="02020603050405020304" pitchFamily="18" charset="0"/>
              </a:rPr>
              <a:t>Embedding </a:t>
            </a:r>
            <a:r>
              <a:rPr lang="en-US" sz="2400" b="1" dirty="0">
                <a:cs typeface="Times New Roman" panose="02020603050405020304" pitchFamily="18" charset="0"/>
              </a:rPr>
              <a:t>under-represented populations </a:t>
            </a:r>
            <a:r>
              <a:rPr lang="en-US" sz="2400" dirty="0">
                <a:cs typeface="Times New Roman" panose="02020603050405020304" pitchFamily="18" charset="0"/>
              </a:rPr>
              <a:t>in the whole process</a:t>
            </a:r>
          </a:p>
          <a:p>
            <a:pPr lvl="1"/>
            <a:r>
              <a:rPr lang="en-US" sz="2400" dirty="0">
                <a:cs typeface="Times New Roman" panose="02020603050405020304" pitchFamily="18" charset="0"/>
              </a:rPr>
              <a:t>Centrality of </a:t>
            </a:r>
            <a:r>
              <a:rPr lang="en-US" sz="2400" b="1" dirty="0">
                <a:cs typeface="Times New Roman" panose="02020603050405020304" pitchFamily="18" charset="0"/>
              </a:rPr>
              <a:t>patient and community engagement </a:t>
            </a:r>
            <a:r>
              <a:rPr lang="en-US" sz="2400" dirty="0">
                <a:cs typeface="Times New Roman" panose="02020603050405020304" pitchFamily="18" charset="0"/>
              </a:rPr>
              <a:t>in clinical research</a:t>
            </a:r>
          </a:p>
          <a:p>
            <a:pPr lvl="1"/>
            <a:r>
              <a:rPr lang="en-US" sz="2400" dirty="0">
                <a:cs typeface="Times New Roman" panose="02020603050405020304" pitchFamily="18" charset="0"/>
              </a:rPr>
              <a:t>Models for large scale trials </a:t>
            </a:r>
            <a:r>
              <a:rPr lang="en-US" sz="2400" b="1" dirty="0">
                <a:cs typeface="Times New Roman" panose="02020603050405020304" pitchFamily="18" charset="0"/>
              </a:rPr>
              <a:t>embedded into health systems</a:t>
            </a:r>
          </a:p>
          <a:p>
            <a:pPr lvl="1"/>
            <a:endParaRPr lang="en-US" sz="2400" dirty="0">
              <a:cs typeface="Times New Roman" panose="02020603050405020304" pitchFamily="18" charset="0"/>
            </a:endParaRPr>
          </a:p>
          <a:p>
            <a:endParaRPr lang="en-US" sz="2400" dirty="0">
              <a:cs typeface="Times New Roman" panose="02020603050405020304" pitchFamily="18" charset="0"/>
            </a:endParaRPr>
          </a:p>
          <a:p>
            <a:endParaRPr lang="en-US" dirty="0">
              <a:cs typeface="Calibri" panose="020F0502020204030204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0C9DE-8873-4AE2-BC0A-8EE59968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36924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AB9DF8-1AC0-4788-8CB7-B48B4DA3F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cs typeface="Times New Roman" panose="02020603050405020304" pitchFamily="18" charset="0"/>
              </a:rPr>
              <a:t>Urgent reforms needed to enable key trial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DA9110-2271-4B84-A47A-4A5C78CD7A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240965"/>
            <a:ext cx="11277600" cy="4376070"/>
          </a:xfrm>
        </p:spPr>
        <p:txBody>
          <a:bodyPr vert="horz" lIns="0" tIns="0" rIns="0" bIns="0" rtlCol="0" anchor="t">
            <a:normAutofit/>
          </a:bodyPr>
          <a:lstStyle/>
          <a:p>
            <a:pPr marL="342900" lvl="0" indent="-342900">
              <a:buFont typeface="Symbol" panose="05050102010706020507" pitchFamily="18" charset="2"/>
              <a:buChar char=""/>
            </a:pP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/>
            <a:r>
              <a:rPr lang="en-US" sz="2400" dirty="0">
                <a:cs typeface="Times New Roman" panose="02020603050405020304" pitchFamily="18" charset="0"/>
              </a:rPr>
              <a:t>expansion of global south leadership for all key aspects of trials </a:t>
            </a:r>
          </a:p>
          <a:p>
            <a:pPr lvl="1"/>
            <a:r>
              <a:rPr lang="en-US" sz="2400" dirty="0">
                <a:cs typeface="Times New Roman" panose="02020603050405020304" pitchFamily="18" charset="0"/>
              </a:rPr>
              <a:t>ongoing sustained capacity rather than project funding alone</a:t>
            </a:r>
          </a:p>
          <a:p>
            <a:pPr lvl="1"/>
            <a:r>
              <a:rPr lang="en-US" sz="2400" dirty="0">
                <a:cs typeface="Times New Roman" panose="02020603050405020304" pitchFamily="18" charset="0"/>
              </a:rPr>
              <a:t>single REC review for clinical trials or effective REC coordination</a:t>
            </a:r>
          </a:p>
          <a:p>
            <a:pPr lvl="1"/>
            <a:r>
              <a:rPr lang="en-US" sz="2400" dirty="0">
                <a:cs typeface="Times New Roman" panose="02020603050405020304" pitchFamily="18" charset="0"/>
              </a:rPr>
              <a:t>single submission systems for REC and NRA review</a:t>
            </a:r>
          </a:p>
          <a:p>
            <a:pPr lvl="1"/>
            <a:r>
              <a:rPr lang="en-US" sz="2400" dirty="0">
                <a:cs typeface="Times New Roman" panose="02020603050405020304" pitchFamily="18" charset="0"/>
              </a:rPr>
              <a:t>parallel not sequential reviews</a:t>
            </a:r>
          </a:p>
          <a:p>
            <a:pPr lvl="1"/>
            <a:r>
              <a:rPr lang="en-US" sz="2400" dirty="0">
                <a:cs typeface="Times New Roman" panose="02020603050405020304" pitchFamily="18" charset="0"/>
              </a:rPr>
              <a:t>coordinated approval processes between regulators and ethics</a:t>
            </a:r>
          </a:p>
          <a:p>
            <a:pPr lvl="1"/>
            <a:r>
              <a:rPr lang="en-US" sz="2400" dirty="0">
                <a:cs typeface="Times New Roman" panose="02020603050405020304" pitchFamily="18" charset="0"/>
              </a:rPr>
              <a:t>ensuring scientific validity</a:t>
            </a:r>
          </a:p>
          <a:p>
            <a:pPr lvl="1"/>
            <a:r>
              <a:rPr lang="en-US" sz="2400" dirty="0">
                <a:cs typeface="Times New Roman" panose="02020603050405020304" pitchFamily="18" charset="0"/>
              </a:rPr>
              <a:t>master clinical trial agreements</a:t>
            </a:r>
          </a:p>
          <a:p>
            <a:pPr lvl="1"/>
            <a:r>
              <a:rPr lang="en-US" sz="2400" dirty="0">
                <a:cs typeface="Times New Roman" panose="02020603050405020304" pitchFamily="18" charset="0"/>
              </a:rPr>
              <a:t>overcoming barriers to importation of investigational products</a:t>
            </a:r>
          </a:p>
          <a:p>
            <a:endParaRPr lang="en-US" sz="2400" dirty="0">
              <a:cs typeface="Times New Roman" panose="02020603050405020304" pitchFamily="18" charset="0"/>
            </a:endParaRPr>
          </a:p>
          <a:p>
            <a:endParaRPr lang="en-US" dirty="0">
              <a:cs typeface="Calibri" panose="020F0502020204030204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0C9DE-8873-4AE2-BC0A-8EE59968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68657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5DA58FB9-B641-9461-1FE2-964141867423}"/>
              </a:ext>
            </a:extLst>
          </p:cNvPr>
          <p:cNvGrpSpPr/>
          <p:nvPr/>
        </p:nvGrpSpPr>
        <p:grpSpPr>
          <a:xfrm>
            <a:off x="75565" y="2157312"/>
            <a:ext cx="11964743" cy="4514300"/>
            <a:chOff x="75565" y="2157312"/>
            <a:chExt cx="11964743" cy="4514300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CFE1359A-853B-DF55-E16B-1A267EE51AA3}"/>
                </a:ext>
              </a:extLst>
            </p:cNvPr>
            <p:cNvGrpSpPr/>
            <p:nvPr/>
          </p:nvGrpSpPr>
          <p:grpSpPr>
            <a:xfrm>
              <a:off x="269138" y="2157312"/>
              <a:ext cx="11771170" cy="3804665"/>
              <a:chOff x="210415" y="2014203"/>
              <a:chExt cx="11771170" cy="3804665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2A2E2157-2619-01B7-2E11-455034686F57}"/>
                  </a:ext>
                </a:extLst>
              </p:cNvPr>
              <p:cNvSpPr/>
              <p:nvPr/>
            </p:nvSpPr>
            <p:spPr>
              <a:xfrm>
                <a:off x="7326220" y="2014397"/>
                <a:ext cx="3390051" cy="3393326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  <a:alpha val="4509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4AFE0375-A938-5F39-ED9F-513D0F69C94D}"/>
                  </a:ext>
                </a:extLst>
              </p:cNvPr>
              <p:cNvSpPr/>
              <p:nvPr/>
            </p:nvSpPr>
            <p:spPr>
              <a:xfrm>
                <a:off x="3799164" y="2014203"/>
                <a:ext cx="3501508" cy="340595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  <a:alpha val="45098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8855F8E0-9633-5399-4A77-28DAA593F793}"/>
                  </a:ext>
                </a:extLst>
              </p:cNvPr>
              <p:cNvSpPr/>
              <p:nvPr/>
            </p:nvSpPr>
            <p:spPr>
              <a:xfrm>
                <a:off x="210415" y="2014397"/>
                <a:ext cx="3558901" cy="3405959"/>
              </a:xfrm>
              <a:prstGeom prst="rect">
                <a:avLst/>
              </a:prstGeom>
              <a:solidFill>
                <a:srgbClr val="99CCFF">
                  <a:alpha val="45098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" name="Arrow: Right 1">
                <a:extLst>
                  <a:ext uri="{FF2B5EF4-FFF2-40B4-BE49-F238E27FC236}">
                    <a16:creationId xmlns:a16="http://schemas.microsoft.com/office/drawing/2014/main" id="{14B8E7DE-7748-DD88-C58C-71CFC5EF643F}"/>
                  </a:ext>
                </a:extLst>
              </p:cNvPr>
              <p:cNvSpPr/>
              <p:nvPr/>
            </p:nvSpPr>
            <p:spPr>
              <a:xfrm>
                <a:off x="210415" y="5407723"/>
                <a:ext cx="11694971" cy="197012"/>
              </a:xfrm>
              <a:prstGeom prst="rightArrow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" name="Rectangle: Rounded Corners 2">
                <a:extLst>
                  <a:ext uri="{FF2B5EF4-FFF2-40B4-BE49-F238E27FC236}">
                    <a16:creationId xmlns:a16="http://schemas.microsoft.com/office/drawing/2014/main" id="{AFCA8064-3FC7-3C91-4A5C-871F8F3C0892}"/>
                  </a:ext>
                </a:extLst>
              </p:cNvPr>
              <p:cNvSpPr/>
              <p:nvPr/>
            </p:nvSpPr>
            <p:spPr>
              <a:xfrm>
                <a:off x="286614" y="3819410"/>
                <a:ext cx="1407226" cy="668892"/>
              </a:xfrm>
              <a:prstGeom prst="roundRect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>
                    <a:solidFill>
                      <a:schemeClr val="bg1"/>
                    </a:solidFill>
                  </a:rPr>
                  <a:t>Scoping review of CTU capacity assessment</a:t>
                </a:r>
              </a:p>
            </p:txBody>
          </p:sp>
          <p:sp>
            <p:nvSpPr>
              <p:cNvPr id="5" name="Rectangle: Rounded Corners 4">
                <a:extLst>
                  <a:ext uri="{FF2B5EF4-FFF2-40B4-BE49-F238E27FC236}">
                    <a16:creationId xmlns:a16="http://schemas.microsoft.com/office/drawing/2014/main" id="{041BD50A-AFC0-4F27-18B4-7323126E1164}"/>
                  </a:ext>
                </a:extLst>
              </p:cNvPr>
              <p:cNvSpPr/>
              <p:nvPr/>
            </p:nvSpPr>
            <p:spPr>
              <a:xfrm>
                <a:off x="2073605" y="3849441"/>
                <a:ext cx="1407226" cy="608024"/>
              </a:xfrm>
              <a:prstGeom prst="roundRect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>
                    <a:solidFill>
                      <a:schemeClr val="bg1"/>
                    </a:solidFill>
                  </a:rPr>
                  <a:t>WHO internal review and expert consultations</a:t>
                </a:r>
              </a:p>
            </p:txBody>
          </p:sp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2FB7A8F9-470E-2F9D-441C-1E94312C30D7}"/>
                  </a:ext>
                </a:extLst>
              </p:cNvPr>
              <p:cNvSpPr/>
              <p:nvPr/>
            </p:nvSpPr>
            <p:spPr>
              <a:xfrm>
                <a:off x="3838630" y="3855428"/>
                <a:ext cx="1407226" cy="553999"/>
              </a:xfrm>
              <a:prstGeom prst="roundRect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>
                    <a:solidFill>
                      <a:schemeClr val="bg1"/>
                    </a:solidFill>
                  </a:rPr>
                  <a:t>Drafting CTU maturity framework</a:t>
                </a:r>
              </a:p>
            </p:txBody>
          </p:sp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2FC38AF8-B06F-4CD5-E70D-1604FC4FC3A3}"/>
                  </a:ext>
                </a:extLst>
              </p:cNvPr>
              <p:cNvSpPr/>
              <p:nvPr/>
            </p:nvSpPr>
            <p:spPr>
              <a:xfrm>
                <a:off x="5582425" y="3795026"/>
                <a:ext cx="1407226" cy="617602"/>
              </a:xfrm>
              <a:prstGeom prst="roundRect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>
                    <a:solidFill>
                      <a:schemeClr val="bg1"/>
                    </a:solidFill>
                  </a:rPr>
                  <a:t>Online and in-person regional, global stakeholder consultations</a:t>
                </a:r>
              </a:p>
            </p:txBody>
          </p:sp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E91FA34D-CF07-A2AE-7EE2-00D62E35F389}"/>
                  </a:ext>
                </a:extLst>
              </p:cNvPr>
              <p:cNvSpPr/>
              <p:nvPr/>
            </p:nvSpPr>
            <p:spPr>
              <a:xfrm>
                <a:off x="7355578" y="3551209"/>
                <a:ext cx="1407226" cy="855024"/>
              </a:xfrm>
              <a:prstGeom prst="roundRect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>
                    <a:solidFill>
                      <a:schemeClr val="bg1"/>
                    </a:solidFill>
                  </a:rPr>
                  <a:t>Country pilot and national workshop on validation and feedback  </a:t>
                </a:r>
              </a:p>
            </p:txBody>
          </p:sp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74BB3DB0-6651-E8F0-FFB2-9D097AEF696E}"/>
                  </a:ext>
                </a:extLst>
              </p:cNvPr>
              <p:cNvSpPr/>
              <p:nvPr/>
            </p:nvSpPr>
            <p:spPr>
              <a:xfrm>
                <a:off x="9157310" y="3515442"/>
                <a:ext cx="1358094" cy="855024"/>
              </a:xfrm>
              <a:prstGeom prst="roundRect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000" dirty="0">
                    <a:solidFill>
                      <a:schemeClr val="bg1"/>
                    </a:solidFill>
                  </a:rPr>
                  <a:t>Revision and finalization of framework, data collection and analysis manual 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A4258E2-FFC6-B847-6B23-71030E1FAA22}"/>
                  </a:ext>
                </a:extLst>
              </p:cNvPr>
              <p:cNvSpPr txBox="1"/>
              <p:nvPr/>
            </p:nvSpPr>
            <p:spPr>
              <a:xfrm>
                <a:off x="1217593" y="5572647"/>
                <a:ext cx="76595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/>
                  <a:t>2024.Q2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A3A825B-532C-FCBC-0203-CDAEA33B1A95}"/>
                  </a:ext>
                </a:extLst>
              </p:cNvPr>
              <p:cNvSpPr txBox="1"/>
              <p:nvPr/>
            </p:nvSpPr>
            <p:spPr>
              <a:xfrm>
                <a:off x="2759405" y="5567037"/>
                <a:ext cx="76595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/>
                  <a:t>2024.Q3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5484F08F-2AC3-54FE-C6B7-4FE770563E51}"/>
                  </a:ext>
                </a:extLst>
              </p:cNvPr>
              <p:cNvSpPr txBox="1"/>
              <p:nvPr/>
            </p:nvSpPr>
            <p:spPr>
              <a:xfrm>
                <a:off x="4657478" y="5560462"/>
                <a:ext cx="76595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/>
                  <a:t>2024.Q4</a:t>
                </a:r>
              </a:p>
            </p:txBody>
          </p:sp>
          <p:cxnSp>
            <p:nvCxnSpPr>
              <p:cNvPr id="16" name="Straight Arrow Connector 15">
                <a:extLst>
                  <a:ext uri="{FF2B5EF4-FFF2-40B4-BE49-F238E27FC236}">
                    <a16:creationId xmlns:a16="http://schemas.microsoft.com/office/drawing/2014/main" id="{F16ECA3C-48F6-B2F7-E0AC-30169A279F5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90227" y="4488302"/>
                <a:ext cx="0" cy="350323"/>
              </a:xfrm>
              <a:prstGeom prst="straightConnector1">
                <a:avLst/>
              </a:prstGeom>
              <a:ln w="19050"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C03FAE4B-BA2E-A575-5207-5B51854C85ED}"/>
                  </a:ext>
                </a:extLst>
              </p:cNvPr>
              <p:cNvSpPr txBox="1"/>
              <p:nvPr/>
            </p:nvSpPr>
            <p:spPr>
              <a:xfrm>
                <a:off x="363803" y="4814081"/>
                <a:ext cx="1252846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/>
                  <a:t>External collaborators</a:t>
                </a:r>
              </a:p>
            </p:txBody>
          </p:sp>
          <p:cxnSp>
            <p:nvCxnSpPr>
              <p:cNvPr id="21" name="Straight Arrow Connector 20">
                <a:extLst>
                  <a:ext uri="{FF2B5EF4-FFF2-40B4-BE49-F238E27FC236}">
                    <a16:creationId xmlns:a16="http://schemas.microsoft.com/office/drawing/2014/main" id="{0C62D1AE-D914-4CA5-8C9E-5BE91C023A0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786125" y="4458455"/>
                <a:ext cx="0" cy="350323"/>
              </a:xfrm>
              <a:prstGeom prst="straightConnector1">
                <a:avLst/>
              </a:prstGeom>
              <a:ln w="19050"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9ABA480D-E0CC-9BB6-D1FD-7EE3C4991CA0}"/>
                  </a:ext>
                </a:extLst>
              </p:cNvPr>
              <p:cNvSpPr txBox="1"/>
              <p:nvPr/>
            </p:nvSpPr>
            <p:spPr>
              <a:xfrm>
                <a:off x="2159702" y="4795106"/>
                <a:ext cx="1252846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/>
                  <a:t>Steering group, TAG, key global stakeholders</a:t>
                </a:r>
              </a:p>
            </p:txBody>
          </p:sp>
          <p:cxnSp>
            <p:nvCxnSpPr>
              <p:cNvPr id="24" name="Connector: Elbow 23">
                <a:extLst>
                  <a:ext uri="{FF2B5EF4-FFF2-40B4-BE49-F238E27FC236}">
                    <a16:creationId xmlns:a16="http://schemas.microsoft.com/office/drawing/2014/main" id="{549C5D93-9278-A0E2-3DE1-33829289D000}"/>
                  </a:ext>
                </a:extLst>
              </p:cNvPr>
              <p:cNvCxnSpPr>
                <a:cxnSpLocks/>
                <a:stCxn id="3" idx="0"/>
                <a:endCxn id="5" idx="1"/>
              </p:cNvCxnSpPr>
              <p:nvPr/>
            </p:nvCxnSpPr>
            <p:spPr>
              <a:xfrm rot="16200000" flipH="1">
                <a:off x="1364894" y="3444742"/>
                <a:ext cx="334043" cy="1083378"/>
              </a:xfrm>
              <a:prstGeom prst="bentConnector4">
                <a:avLst>
                  <a:gd name="adj1" fmla="val -68434"/>
                  <a:gd name="adj2" fmla="val 82473"/>
                </a:avLst>
              </a:prstGeom>
              <a:ln w="19050"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EAE6722-4824-22EE-415A-29766372DB5E}"/>
                  </a:ext>
                </a:extLst>
              </p:cNvPr>
              <p:cNvSpPr txBox="1"/>
              <p:nvPr/>
            </p:nvSpPr>
            <p:spPr>
              <a:xfrm>
                <a:off x="430108" y="3107706"/>
                <a:ext cx="1187533" cy="553998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02060"/>
                </a:solidFill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/>
                  <a:t>Relevant scope and areas in reviewed framework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BE6372E1-DB2B-0E71-DDFA-1F9D1D35898F}"/>
                  </a:ext>
                </a:extLst>
              </p:cNvPr>
              <p:cNvSpPr txBox="1"/>
              <p:nvPr/>
            </p:nvSpPr>
            <p:spPr>
              <a:xfrm>
                <a:off x="3935468" y="4749005"/>
                <a:ext cx="1252846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/>
                  <a:t>Expert collaborators</a:t>
                </a:r>
              </a:p>
            </p:txBody>
          </p:sp>
          <p:cxnSp>
            <p:nvCxnSpPr>
              <p:cNvPr id="30" name="Straight Arrow Connector 29">
                <a:extLst>
                  <a:ext uri="{FF2B5EF4-FFF2-40B4-BE49-F238E27FC236}">
                    <a16:creationId xmlns:a16="http://schemas.microsoft.com/office/drawing/2014/main" id="{ABA737A0-4D38-AD56-6BFC-25DBB8406BF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41763" y="4421681"/>
                <a:ext cx="0" cy="350323"/>
              </a:xfrm>
              <a:prstGeom prst="straightConnector1">
                <a:avLst/>
              </a:prstGeom>
              <a:ln w="19050"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Arrow Connector 35">
                <a:extLst>
                  <a:ext uri="{FF2B5EF4-FFF2-40B4-BE49-F238E27FC236}">
                    <a16:creationId xmlns:a16="http://schemas.microsoft.com/office/drawing/2014/main" id="{01D4D618-F6C0-722D-ADAA-E26B69784C8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286038" y="4421681"/>
                <a:ext cx="0" cy="350323"/>
              </a:xfrm>
              <a:prstGeom prst="straightConnector1">
                <a:avLst/>
              </a:prstGeom>
              <a:ln w="19050"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EA802103-F05B-3EDE-65FB-449D79E95DE1}"/>
                  </a:ext>
                </a:extLst>
              </p:cNvPr>
              <p:cNvSpPr txBox="1"/>
              <p:nvPr/>
            </p:nvSpPr>
            <p:spPr>
              <a:xfrm>
                <a:off x="5673101" y="4749005"/>
                <a:ext cx="1252846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/>
                  <a:t>Steering group, TAG, global and regional stakeholders</a:t>
                </a:r>
              </a:p>
            </p:txBody>
          </p:sp>
          <p:cxnSp>
            <p:nvCxnSpPr>
              <p:cNvPr id="40" name="Connector: Elbow 39">
                <a:extLst>
                  <a:ext uri="{FF2B5EF4-FFF2-40B4-BE49-F238E27FC236}">
                    <a16:creationId xmlns:a16="http://schemas.microsoft.com/office/drawing/2014/main" id="{D83D7186-3072-8472-A208-0E9EBD43E8F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848052" y="3258464"/>
                <a:ext cx="1043049" cy="252350"/>
              </a:xfrm>
              <a:prstGeom prst="bentConnector3">
                <a:avLst>
                  <a:gd name="adj1" fmla="val -669"/>
                </a:avLst>
              </a:prstGeom>
              <a:ln w="19050"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BA9BC1AD-C657-036A-B6A7-E546D4E164A4}"/>
                  </a:ext>
                </a:extLst>
              </p:cNvPr>
              <p:cNvSpPr/>
              <p:nvPr/>
            </p:nvSpPr>
            <p:spPr>
              <a:xfrm>
                <a:off x="10891103" y="2925630"/>
                <a:ext cx="1090482" cy="665668"/>
              </a:xfrm>
              <a:prstGeom prst="ellipse">
                <a:avLst/>
              </a:prstGeom>
              <a:solidFill>
                <a:srgbClr val="00206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/>
                  <a:t>Launch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4E3314F3-CD87-9205-C977-C0703E6F880C}"/>
                  </a:ext>
                </a:extLst>
              </p:cNvPr>
              <p:cNvSpPr txBox="1"/>
              <p:nvPr/>
            </p:nvSpPr>
            <p:spPr>
              <a:xfrm>
                <a:off x="9258190" y="3172305"/>
                <a:ext cx="1146072" cy="246221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02060"/>
                </a:solidFill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/>
                  <a:t>Final framework</a:t>
                </a:r>
              </a:p>
            </p:txBody>
          </p:sp>
          <p:cxnSp>
            <p:nvCxnSpPr>
              <p:cNvPr id="43" name="Straight Arrow Connector 42">
                <a:extLst>
                  <a:ext uri="{FF2B5EF4-FFF2-40B4-BE49-F238E27FC236}">
                    <a16:creationId xmlns:a16="http://schemas.microsoft.com/office/drawing/2014/main" id="{41BF5BF7-5BDE-EBC4-3056-C072607EEC2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047813" y="4404464"/>
                <a:ext cx="0" cy="350323"/>
              </a:xfrm>
              <a:prstGeom prst="straightConnector1">
                <a:avLst/>
              </a:prstGeom>
              <a:ln w="19050"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47581D7A-9B70-702A-1156-CE4927DC16B9}"/>
                  </a:ext>
                </a:extLst>
              </p:cNvPr>
              <p:cNvSpPr txBox="1"/>
              <p:nvPr/>
            </p:nvSpPr>
            <p:spPr>
              <a:xfrm>
                <a:off x="7355577" y="4727312"/>
                <a:ext cx="140722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/>
                  <a:t>National stakeholders, external collaborators</a:t>
                </a:r>
              </a:p>
            </p:txBody>
          </p:sp>
          <p:cxnSp>
            <p:nvCxnSpPr>
              <p:cNvPr id="45" name="Straight Arrow Connector 44">
                <a:extLst>
                  <a:ext uri="{FF2B5EF4-FFF2-40B4-BE49-F238E27FC236}">
                    <a16:creationId xmlns:a16="http://schemas.microsoft.com/office/drawing/2014/main" id="{24252C1B-0049-B7DE-BE43-DD04474DEAC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9860923" y="4368408"/>
                <a:ext cx="0" cy="350323"/>
              </a:xfrm>
              <a:prstGeom prst="straightConnector1">
                <a:avLst/>
              </a:prstGeom>
              <a:ln w="19050"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1EE5B226-DA67-75D1-3805-EC0BE073154B}"/>
                  </a:ext>
                </a:extLst>
              </p:cNvPr>
              <p:cNvSpPr txBox="1"/>
              <p:nvPr/>
            </p:nvSpPr>
            <p:spPr>
              <a:xfrm>
                <a:off x="9258189" y="4685977"/>
                <a:ext cx="1209104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/>
                  <a:t>External collaborators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70312710-5D57-A65E-8083-AF6E6B78C644}"/>
                  </a:ext>
                </a:extLst>
              </p:cNvPr>
              <p:cNvSpPr txBox="1"/>
              <p:nvPr/>
            </p:nvSpPr>
            <p:spPr>
              <a:xfrm>
                <a:off x="8124063" y="5560461"/>
                <a:ext cx="76595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/>
                  <a:t>2025.Q2</a:t>
                </a: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6829CC53-469F-5761-8C26-AD305691CA45}"/>
                  </a:ext>
                </a:extLst>
              </p:cNvPr>
              <p:cNvSpPr txBox="1"/>
              <p:nvPr/>
            </p:nvSpPr>
            <p:spPr>
              <a:xfrm>
                <a:off x="9857855" y="5560460"/>
                <a:ext cx="76595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/>
                  <a:t>2025.Q3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A9973D45-5CB5-B869-F52D-BE7958761901}"/>
                  </a:ext>
                </a:extLst>
              </p:cNvPr>
              <p:cNvSpPr txBox="1"/>
              <p:nvPr/>
            </p:nvSpPr>
            <p:spPr>
              <a:xfrm>
                <a:off x="11215627" y="5553873"/>
                <a:ext cx="76595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/>
                  <a:t>2025.Q4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446BF667-D9B4-23A4-2AA0-26FE7BB29975}"/>
                  </a:ext>
                </a:extLst>
              </p:cNvPr>
              <p:cNvSpPr txBox="1"/>
              <p:nvPr/>
            </p:nvSpPr>
            <p:spPr>
              <a:xfrm>
                <a:off x="6417970" y="5551833"/>
                <a:ext cx="76595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/>
                  <a:t>2025.Q1</a:t>
                </a:r>
              </a:p>
            </p:txBody>
          </p:sp>
          <p:cxnSp>
            <p:nvCxnSpPr>
              <p:cNvPr id="20" name="Connector: Elbow 19">
                <a:extLst>
                  <a:ext uri="{FF2B5EF4-FFF2-40B4-BE49-F238E27FC236}">
                    <a16:creationId xmlns:a16="http://schemas.microsoft.com/office/drawing/2014/main" id="{F45CD510-47BB-50D8-910C-B8BA2D636F4E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3151885" y="3469950"/>
                <a:ext cx="334043" cy="1083378"/>
              </a:xfrm>
              <a:prstGeom prst="bentConnector4">
                <a:avLst>
                  <a:gd name="adj1" fmla="val -108106"/>
                  <a:gd name="adj2" fmla="val 82473"/>
                </a:avLst>
              </a:prstGeom>
              <a:ln w="19050"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4283CEF6-6ABA-9E9A-4309-861301A968E9}"/>
                  </a:ext>
                </a:extLst>
              </p:cNvPr>
              <p:cNvSpPr txBox="1"/>
              <p:nvPr/>
            </p:nvSpPr>
            <p:spPr>
              <a:xfrm>
                <a:off x="2192358" y="3148102"/>
                <a:ext cx="1187533" cy="400110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02060"/>
                </a:solidFill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/>
                  <a:t>Agreed </a:t>
                </a:r>
                <a:r>
                  <a:rPr lang="en-US" sz="1000" dirty="0"/>
                  <a:t>structure for framework</a:t>
                </a:r>
              </a:p>
            </p:txBody>
          </p:sp>
          <p:cxnSp>
            <p:nvCxnSpPr>
              <p:cNvPr id="55" name="Connector: Elbow 54">
                <a:extLst>
                  <a:ext uri="{FF2B5EF4-FFF2-40B4-BE49-F238E27FC236}">
                    <a16:creationId xmlns:a16="http://schemas.microsoft.com/office/drawing/2014/main" id="{F110E4A3-5BF5-D725-F4F9-E2E4BB76B56D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4905268" y="3459539"/>
                <a:ext cx="334043" cy="1083378"/>
              </a:xfrm>
              <a:prstGeom prst="bentConnector4">
                <a:avLst>
                  <a:gd name="adj1" fmla="val -68434"/>
                  <a:gd name="adj2" fmla="val 79376"/>
                </a:avLst>
              </a:prstGeom>
              <a:ln w="19050"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2810313D-F88C-EC2E-231E-A26CD7425277}"/>
                  </a:ext>
                </a:extLst>
              </p:cNvPr>
              <p:cNvSpPr txBox="1"/>
              <p:nvPr/>
            </p:nvSpPr>
            <p:spPr>
              <a:xfrm>
                <a:off x="3947997" y="3172305"/>
                <a:ext cx="1187533" cy="553998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02060"/>
                </a:solidFill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/>
                  <a:t>Set of draft indicators with explanation</a:t>
                </a:r>
              </a:p>
            </p:txBody>
          </p:sp>
          <p:cxnSp>
            <p:nvCxnSpPr>
              <p:cNvPr id="59" name="Connector: Elbow 58">
                <a:extLst>
                  <a:ext uri="{FF2B5EF4-FFF2-40B4-BE49-F238E27FC236}">
                    <a16:creationId xmlns:a16="http://schemas.microsoft.com/office/drawing/2014/main" id="{24A14CEB-2EE1-383F-BD96-5B8212AF0885}"/>
                  </a:ext>
                </a:extLst>
              </p:cNvPr>
              <p:cNvCxnSpPr>
                <a:cxnSpLocks/>
                <a:stCxn id="7" idx="0"/>
              </p:cNvCxnSpPr>
              <p:nvPr/>
            </p:nvCxnSpPr>
            <p:spPr>
              <a:xfrm rot="16200000" flipH="1">
                <a:off x="6652106" y="3428958"/>
                <a:ext cx="337402" cy="1069539"/>
              </a:xfrm>
              <a:prstGeom prst="bentConnector4">
                <a:avLst>
                  <a:gd name="adj1" fmla="val -67753"/>
                  <a:gd name="adj2" fmla="val 82893"/>
                </a:avLst>
              </a:prstGeom>
              <a:ln w="19050"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AB5F2457-F5EB-AE5B-6587-DF55BA5B0DF3}"/>
                  </a:ext>
                </a:extLst>
              </p:cNvPr>
              <p:cNvSpPr txBox="1"/>
              <p:nvPr/>
            </p:nvSpPr>
            <p:spPr>
              <a:xfrm>
                <a:off x="5707222" y="2511094"/>
                <a:ext cx="1187533" cy="1169551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02060"/>
                </a:solidFill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/>
                  <a:t>Feedback integration for draft indicators, data collection and analysis plan, model action recommendations </a:t>
                </a:r>
              </a:p>
            </p:txBody>
          </p:sp>
          <p:cxnSp>
            <p:nvCxnSpPr>
              <p:cNvPr id="65" name="Connector: Elbow 64">
                <a:extLst>
                  <a:ext uri="{FF2B5EF4-FFF2-40B4-BE49-F238E27FC236}">
                    <a16:creationId xmlns:a16="http://schemas.microsoft.com/office/drawing/2014/main" id="{59456124-0423-032A-11AE-12EE83D89D8A}"/>
                  </a:ext>
                </a:extLst>
              </p:cNvPr>
              <p:cNvCxnSpPr>
                <a:cxnSpLocks/>
                <a:stCxn id="8" idx="0"/>
              </p:cNvCxnSpPr>
              <p:nvPr/>
            </p:nvCxnSpPr>
            <p:spPr>
              <a:xfrm rot="16200000" flipH="1">
                <a:off x="8332303" y="3278097"/>
                <a:ext cx="533086" cy="1079311"/>
              </a:xfrm>
              <a:prstGeom prst="bentConnector4">
                <a:avLst>
                  <a:gd name="adj1" fmla="val -42882"/>
                  <a:gd name="adj2" fmla="val 82595"/>
                </a:avLst>
              </a:prstGeom>
              <a:ln w="19050"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43EFC57A-806F-024B-E759-E16B8CEE2102}"/>
                  </a:ext>
                </a:extLst>
              </p:cNvPr>
              <p:cNvSpPr txBox="1"/>
              <p:nvPr/>
            </p:nvSpPr>
            <p:spPr>
              <a:xfrm>
                <a:off x="7471340" y="2720769"/>
                <a:ext cx="1187533" cy="707886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02060"/>
                </a:solidFill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/>
                  <a:t>Pilot outcome feedback, recommendation for revision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A7720C1D-4C59-E831-D5EE-AB0EFDE1A3AA}"/>
                  </a:ext>
                </a:extLst>
              </p:cNvPr>
              <p:cNvSpPr txBox="1"/>
              <p:nvPr/>
            </p:nvSpPr>
            <p:spPr>
              <a:xfrm>
                <a:off x="286614" y="2035000"/>
                <a:ext cx="280892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/>
                  <a:t>Step 1: scoping </a:t>
                </a:r>
              </a:p>
              <a:p>
                <a:r>
                  <a:rPr lang="en-US" sz="1200" dirty="0"/>
                  <a:t>Led by HQ with support from ROs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4E4F4293-25AA-A8B1-7A9F-577678DD821C}"/>
                  </a:ext>
                </a:extLst>
              </p:cNvPr>
              <p:cNvSpPr txBox="1"/>
              <p:nvPr/>
            </p:nvSpPr>
            <p:spPr>
              <a:xfrm>
                <a:off x="3797429" y="2048900"/>
                <a:ext cx="309732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/>
                  <a:t>Step 2: drafting</a:t>
                </a:r>
              </a:p>
              <a:p>
                <a:r>
                  <a:rPr lang="en-US" sz="1200" dirty="0"/>
                  <a:t>Led by HQ with support from ROs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754004F2-3A7C-2F84-2E64-B4B5A55B1782}"/>
                  </a:ext>
                </a:extLst>
              </p:cNvPr>
              <p:cNvSpPr txBox="1"/>
              <p:nvPr/>
            </p:nvSpPr>
            <p:spPr>
              <a:xfrm>
                <a:off x="7355578" y="2032841"/>
                <a:ext cx="315982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/>
                  <a:t>Step 3: piloting</a:t>
                </a:r>
              </a:p>
              <a:p>
                <a:r>
                  <a:rPr lang="en-US" sz="1200" dirty="0"/>
                  <a:t>Led by ROs with support from HQ and WCOs</a:t>
                </a:r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FA43F54-7884-A966-AD72-7BA95220E1AD}"/>
                </a:ext>
              </a:extLst>
            </p:cNvPr>
            <p:cNvSpPr txBox="1"/>
            <p:nvPr/>
          </p:nvSpPr>
          <p:spPr>
            <a:xfrm>
              <a:off x="75565" y="5963726"/>
              <a:ext cx="6786629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i="1" dirty="0"/>
                <a:t>Working groups: </a:t>
              </a:r>
            </a:p>
            <a:p>
              <a:pPr marL="228600" indent="-228600">
                <a:buFont typeface="Arial" panose="020B0604020202020204" pitchFamily="34" charset="0"/>
                <a:buChar char="•"/>
              </a:pPr>
              <a:r>
                <a:rPr lang="en-US" sz="800" i="1" dirty="0"/>
                <a:t>Steering group</a:t>
              </a:r>
              <a:r>
                <a:rPr lang="en-US" sz="800" dirty="0"/>
                <a:t>: WHO regional advisors on research, selected country offices, staff of relevant technical programs in HQ </a:t>
              </a:r>
            </a:p>
            <a:p>
              <a:pPr marL="228600" indent="-228600">
                <a:buFont typeface="Arial" panose="020B0604020202020204" pitchFamily="34" charset="0"/>
                <a:buChar char="•"/>
              </a:pPr>
              <a:r>
                <a:rPr lang="en-US" sz="800" i="1" dirty="0"/>
                <a:t>Technical Advisory Group (TAG) of Clinical Trials</a:t>
              </a:r>
            </a:p>
            <a:p>
              <a:pPr marL="228600" indent="-228600">
                <a:buFont typeface="Arial" panose="020B0604020202020204" pitchFamily="34" charset="0"/>
                <a:buChar char="•"/>
              </a:pPr>
              <a:r>
                <a:rPr lang="en-US" sz="800" i="1" dirty="0"/>
                <a:t>External collaborators</a:t>
              </a:r>
              <a:r>
                <a:rPr lang="en-US" sz="800" dirty="0"/>
                <a:t>: contracting or collaborating research institutes or experts</a:t>
              </a:r>
            </a:p>
            <a:p>
              <a:pPr marL="228600" indent="-228600">
                <a:buFont typeface="Arial" panose="020B0604020202020204" pitchFamily="34" charset="0"/>
                <a:buChar char="•"/>
              </a:pPr>
              <a:r>
                <a:rPr lang="en-US" sz="800" i="1" dirty="0"/>
                <a:t>Stakeholders</a:t>
              </a:r>
              <a:r>
                <a:rPr lang="en-US" sz="800" dirty="0"/>
                <a:t>: global, regional or national interest institutions and individuals</a:t>
              </a: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1FA40526-2E41-DF01-60C5-371A787BB859}"/>
              </a:ext>
            </a:extLst>
          </p:cNvPr>
          <p:cNvSpPr txBox="1"/>
          <p:nvPr/>
        </p:nvSpPr>
        <p:spPr>
          <a:xfrm>
            <a:off x="75565" y="40847"/>
            <a:ext cx="112170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WHO maturity framework for clinical trial units </a:t>
            </a:r>
          </a:p>
          <a:p>
            <a:r>
              <a:rPr lang="en-US" sz="2000" dirty="0"/>
              <a:t>A self-assessment and benchmarking tool to guide the capacity development in clinical trial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77A4F76F-DB59-46B1-B428-814152BFD153}"/>
              </a:ext>
            </a:extLst>
          </p:cNvPr>
          <p:cNvSpPr/>
          <p:nvPr/>
        </p:nvSpPr>
        <p:spPr>
          <a:xfrm>
            <a:off x="151692" y="1065402"/>
            <a:ext cx="2575710" cy="58395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hase 1: development (2024/25)</a:t>
            </a:r>
          </a:p>
          <a:p>
            <a:pPr algn="ctr"/>
            <a:r>
              <a:rPr lang="en-US" sz="1200" dirty="0"/>
              <a:t>Led by HQ with support from ROs and WCO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18DB30E-E90E-E9C8-9631-051401CF5565}"/>
              </a:ext>
            </a:extLst>
          </p:cNvPr>
          <p:cNvSpPr/>
          <p:nvPr/>
        </p:nvSpPr>
        <p:spPr>
          <a:xfrm>
            <a:off x="2789003" y="1067622"/>
            <a:ext cx="2575710" cy="58173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hase 2: implementation (2026/27)</a:t>
            </a:r>
          </a:p>
          <a:p>
            <a:pPr algn="ctr"/>
            <a:r>
              <a:rPr lang="en-US" sz="1200" dirty="0"/>
              <a:t>Led by ROs with support from WCOs and HQ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937B699C-CEE3-7734-206C-7B375D5B29F0}"/>
              </a:ext>
            </a:extLst>
          </p:cNvPr>
          <p:cNvCxnSpPr>
            <a:cxnSpLocks/>
          </p:cNvCxnSpPr>
          <p:nvPr/>
        </p:nvCxnSpPr>
        <p:spPr>
          <a:xfrm>
            <a:off x="151692" y="1657724"/>
            <a:ext cx="117446" cy="476761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5DCD6EC4-3D09-C908-3A4B-017734930EFB}"/>
              </a:ext>
            </a:extLst>
          </p:cNvPr>
          <p:cNvCxnSpPr>
            <a:cxnSpLocks/>
          </p:cNvCxnSpPr>
          <p:nvPr/>
        </p:nvCxnSpPr>
        <p:spPr>
          <a:xfrm>
            <a:off x="2700682" y="1657724"/>
            <a:ext cx="8074312" cy="483265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03789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CF919E-AC59-4894-8F7E-482A0C5FA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4EB7B9-2F73-4A02-A074-1763F176F7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17</a:t>
            </a:fld>
            <a:endParaRPr lang="en-US"/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C995E1C8-6CA9-4F8F-8012-47E971E613F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57200" y="1825625"/>
          <a:ext cx="6763732" cy="38846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3423E638-2766-4204-B798-6D97F18915FE}"/>
              </a:ext>
            </a:extLst>
          </p:cNvPr>
          <p:cNvGrpSpPr/>
          <p:nvPr/>
        </p:nvGrpSpPr>
        <p:grpSpPr>
          <a:xfrm>
            <a:off x="5612889" y="2412533"/>
            <a:ext cx="3735715" cy="1183653"/>
            <a:chOff x="1902299" y="1350479"/>
            <a:chExt cx="2959132" cy="1183653"/>
          </a:xfrm>
        </p:grpSpPr>
        <p:sp>
          <p:nvSpPr>
            <p:cNvPr id="13" name="Arrow: Chevron 12">
              <a:extLst>
                <a:ext uri="{FF2B5EF4-FFF2-40B4-BE49-F238E27FC236}">
                  <a16:creationId xmlns:a16="http://schemas.microsoft.com/office/drawing/2014/main" id="{D19AEF65-26EB-464F-9EAE-0A788B787E27}"/>
                </a:ext>
              </a:extLst>
            </p:cNvPr>
            <p:cNvSpPr/>
            <p:nvPr/>
          </p:nvSpPr>
          <p:spPr>
            <a:xfrm>
              <a:off x="1902299" y="1350479"/>
              <a:ext cx="2959132" cy="1183653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Arrow: Chevron 4">
              <a:extLst>
                <a:ext uri="{FF2B5EF4-FFF2-40B4-BE49-F238E27FC236}">
                  <a16:creationId xmlns:a16="http://schemas.microsoft.com/office/drawing/2014/main" id="{90466AB2-D563-4542-932F-A2A902F3ABC8}"/>
                </a:ext>
              </a:extLst>
            </p:cNvPr>
            <p:cNvSpPr txBox="1"/>
            <p:nvPr/>
          </p:nvSpPr>
          <p:spPr>
            <a:xfrm>
              <a:off x="2494126" y="1350479"/>
              <a:ext cx="1775479" cy="11836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0480" tIns="15240" rIns="0" bIns="15240" numCol="1" spcCol="1270" anchor="ctr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Enabling environment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5578B738-65AE-4B38-88C6-B3AC168084ED}"/>
              </a:ext>
            </a:extLst>
          </p:cNvPr>
          <p:cNvSpPr txBox="1"/>
          <p:nvPr/>
        </p:nvSpPr>
        <p:spPr>
          <a:xfrm>
            <a:off x="9493370" y="1679813"/>
            <a:ext cx="235612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ational capacities in NR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thics committe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earch institu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atient/ Community engagement in rese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ter-agency harmonization/ coordin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unctional clinical research networks performing key trial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1647822-801A-480F-8069-EC9AD4153122}"/>
              </a:ext>
            </a:extLst>
          </p:cNvPr>
          <p:cNvCxnSpPr/>
          <p:nvPr/>
        </p:nvCxnSpPr>
        <p:spPr>
          <a:xfrm>
            <a:off x="1272619" y="1093509"/>
            <a:ext cx="4025245" cy="0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858B91E1-AF1D-4B10-BCA0-DA8F387F061C}"/>
              </a:ext>
            </a:extLst>
          </p:cNvPr>
          <p:cNvSpPr txBox="1"/>
          <p:nvPr/>
        </p:nvSpPr>
        <p:spPr>
          <a:xfrm>
            <a:off x="3091353" y="563920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2023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2A35C8D-6E22-48D7-8931-28391193684F}"/>
              </a:ext>
            </a:extLst>
          </p:cNvPr>
          <p:cNvCxnSpPr/>
          <p:nvPr/>
        </p:nvCxnSpPr>
        <p:spPr>
          <a:xfrm>
            <a:off x="5468125" y="1093509"/>
            <a:ext cx="4025245" cy="0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ED93AD6-76F8-4408-B5F8-9DF6D59A093F}"/>
              </a:ext>
            </a:extLst>
          </p:cNvPr>
          <p:cNvSpPr txBox="1"/>
          <p:nvPr/>
        </p:nvSpPr>
        <p:spPr>
          <a:xfrm>
            <a:off x="6688835" y="575979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2024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E71D98-2EE8-6514-CD03-8ECAEC5A23B4}"/>
              </a:ext>
            </a:extLst>
          </p:cNvPr>
          <p:cNvGrpSpPr/>
          <p:nvPr/>
        </p:nvGrpSpPr>
        <p:grpSpPr>
          <a:xfrm>
            <a:off x="5612887" y="3803471"/>
            <a:ext cx="3735715" cy="1183653"/>
            <a:chOff x="1902299" y="1350479"/>
            <a:chExt cx="2959132" cy="1183653"/>
          </a:xfrm>
        </p:grpSpPr>
        <p:sp>
          <p:nvSpPr>
            <p:cNvPr id="3" name="Arrow: Chevron 2">
              <a:extLst>
                <a:ext uri="{FF2B5EF4-FFF2-40B4-BE49-F238E27FC236}">
                  <a16:creationId xmlns:a16="http://schemas.microsoft.com/office/drawing/2014/main" id="{D5AB47E8-BB72-9FA8-DD1B-BBFB6779CEDA}"/>
                </a:ext>
              </a:extLst>
            </p:cNvPr>
            <p:cNvSpPr/>
            <p:nvPr/>
          </p:nvSpPr>
          <p:spPr>
            <a:xfrm>
              <a:off x="1902299" y="1350479"/>
              <a:ext cx="2959132" cy="1183653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" name="Arrow: Chevron 4">
              <a:extLst>
                <a:ext uri="{FF2B5EF4-FFF2-40B4-BE49-F238E27FC236}">
                  <a16:creationId xmlns:a16="http://schemas.microsoft.com/office/drawing/2014/main" id="{3D5F4785-F032-CA59-ECFB-4002DEB2F969}"/>
                </a:ext>
              </a:extLst>
            </p:cNvPr>
            <p:cNvSpPr txBox="1"/>
            <p:nvPr/>
          </p:nvSpPr>
          <p:spPr>
            <a:xfrm>
              <a:off x="2494126" y="1350479"/>
              <a:ext cx="1775479" cy="11836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0480" tIns="15240" rIns="0" bIns="15240" numCol="1" spcCol="1270" anchor="ctr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kern="1200" dirty="0"/>
                <a:t>Implementation tool Development</a:t>
              </a:r>
            </a:p>
          </p:txBody>
        </p:sp>
      </p:grpSp>
      <p:grpSp>
        <p:nvGrpSpPr>
          <p:cNvPr id="7" name="Group 6" descr="Support for capacity development&#10;">
            <a:extLst>
              <a:ext uri="{FF2B5EF4-FFF2-40B4-BE49-F238E27FC236}">
                <a16:creationId xmlns:a16="http://schemas.microsoft.com/office/drawing/2014/main" id="{76D2A0D9-3054-216E-0C01-1B20B4C8F1AD}"/>
              </a:ext>
            </a:extLst>
          </p:cNvPr>
          <p:cNvGrpSpPr/>
          <p:nvPr/>
        </p:nvGrpSpPr>
        <p:grpSpPr>
          <a:xfrm>
            <a:off x="5612888" y="5226316"/>
            <a:ext cx="3735715" cy="1183653"/>
            <a:chOff x="1902299" y="1350479"/>
            <a:chExt cx="2959132" cy="1183653"/>
          </a:xfrm>
        </p:grpSpPr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568FDBB1-6330-1FBE-E476-7FBD6D7EEFB9}"/>
                </a:ext>
              </a:extLst>
            </p:cNvPr>
            <p:cNvSpPr/>
            <p:nvPr/>
          </p:nvSpPr>
          <p:spPr>
            <a:xfrm>
              <a:off x="1902299" y="1350479"/>
              <a:ext cx="2959132" cy="1183653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Arrow: Chevron 4">
              <a:extLst>
                <a:ext uri="{FF2B5EF4-FFF2-40B4-BE49-F238E27FC236}">
                  <a16:creationId xmlns:a16="http://schemas.microsoft.com/office/drawing/2014/main" id="{6489B845-3CCD-49CB-97B9-92C9FD263874}"/>
                </a:ext>
              </a:extLst>
            </p:cNvPr>
            <p:cNvSpPr txBox="1"/>
            <p:nvPr/>
          </p:nvSpPr>
          <p:spPr>
            <a:xfrm>
              <a:off x="2494126" y="1350479"/>
              <a:ext cx="1775479" cy="11836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0480" tIns="15240" rIns="0" bIns="15240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dirty="0"/>
                <a:t>Support for </a:t>
              </a:r>
              <a:r>
                <a:rPr lang="en-US" sz="2400" kern="1200"/>
                <a:t>capacity development</a:t>
              </a:r>
              <a:endParaRPr lang="en-US" sz="24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019023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48D076-2CBD-0828-B0CF-B07E408CCA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major activities in WHO Research for Health Depart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4D3E8A-78F0-17D0-9419-0E2E276D4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FB9942E-FAC3-810C-4836-94F3C74E4CBE}"/>
              </a:ext>
            </a:extLst>
          </p:cNvPr>
          <p:cNvSpPr txBox="1">
            <a:spLocks/>
          </p:cNvSpPr>
          <p:nvPr/>
        </p:nvSpPr>
        <p:spPr>
          <a:xfrm>
            <a:off x="457200" y="1486852"/>
            <a:ext cx="5167430" cy="449908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800" b="1" u="sng" dirty="0"/>
              <a:t>Guidance on:</a:t>
            </a:r>
          </a:p>
          <a:p>
            <a:r>
              <a:rPr lang="en-US" sz="2800" dirty="0">
                <a:hlinkClick r:id="rId2"/>
              </a:rPr>
              <a:t>Health Foresight</a:t>
            </a:r>
            <a:endParaRPr lang="en-US" sz="2800" dirty="0"/>
          </a:p>
          <a:p>
            <a:r>
              <a:rPr lang="en-US" sz="2800" dirty="0">
                <a:hlinkClick r:id="rId3"/>
              </a:rPr>
              <a:t>AI and health</a:t>
            </a:r>
            <a:endParaRPr lang="en-US" sz="2800" dirty="0"/>
          </a:p>
          <a:p>
            <a:r>
              <a:rPr lang="en-US" sz="2800" dirty="0">
                <a:hlinkClick r:id="rId4"/>
              </a:rPr>
              <a:t>Genomics</a:t>
            </a:r>
            <a:endParaRPr lang="en-US" sz="2800" dirty="0"/>
          </a:p>
          <a:p>
            <a:r>
              <a:rPr lang="en-US" sz="2800" dirty="0">
                <a:hlinkClick r:id="rId5"/>
              </a:rPr>
              <a:t>Responsible life sciences research / dual use research</a:t>
            </a:r>
            <a:endParaRPr lang="en-US" sz="2800" dirty="0"/>
          </a:p>
          <a:p>
            <a:r>
              <a:rPr lang="en-US" sz="2800" dirty="0">
                <a:hlinkClick r:id="rId6"/>
              </a:rPr>
              <a:t>Human genome editing</a:t>
            </a:r>
            <a:endParaRPr lang="en-US" sz="28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21A4224-38C1-128B-3368-7C5E4909574A}"/>
              </a:ext>
            </a:extLst>
          </p:cNvPr>
          <p:cNvSpPr txBox="1">
            <a:spLocks/>
          </p:cNvSpPr>
          <p:nvPr/>
        </p:nvSpPr>
        <p:spPr>
          <a:xfrm>
            <a:off x="5974701" y="1486851"/>
            <a:ext cx="5167431" cy="4499082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800" b="1" u="sng" dirty="0"/>
              <a:t>Guidance on:</a:t>
            </a:r>
          </a:p>
          <a:p>
            <a:r>
              <a:rPr lang="en-US" sz="2800" dirty="0">
                <a:hlinkClick r:id="rId7"/>
              </a:rPr>
              <a:t>Global Observatory on health R&amp;D</a:t>
            </a:r>
            <a:endParaRPr lang="en-US" sz="2800" dirty="0"/>
          </a:p>
          <a:p>
            <a:r>
              <a:rPr lang="en-US" sz="2800" dirty="0">
                <a:hlinkClick r:id="rId8"/>
              </a:rPr>
              <a:t>ICTRP (trial search portal)</a:t>
            </a:r>
            <a:endParaRPr lang="en-US" sz="2800" dirty="0"/>
          </a:p>
          <a:p>
            <a:r>
              <a:rPr lang="en-US" sz="2800" dirty="0">
                <a:hlinkClick r:id="rId9"/>
              </a:rPr>
              <a:t>Research priority setting</a:t>
            </a:r>
            <a:endParaRPr lang="en-US" sz="2800" dirty="0"/>
          </a:p>
          <a:p>
            <a:r>
              <a:rPr lang="en-US" sz="2800" dirty="0">
                <a:hlinkClick r:id="rId10"/>
              </a:rPr>
              <a:t>WHO Target Product Profiles</a:t>
            </a:r>
            <a:endParaRPr lang="en-US" sz="2800" dirty="0"/>
          </a:p>
          <a:p>
            <a:r>
              <a:rPr lang="en-US" sz="2800" dirty="0">
                <a:hlinkClick r:id="rId11"/>
              </a:rPr>
              <a:t>WHO Coordinated Scientific Advice</a:t>
            </a:r>
            <a:endParaRPr lang="en-US" sz="2800" dirty="0"/>
          </a:p>
          <a:p>
            <a:r>
              <a:rPr lang="en-US" sz="2800" dirty="0">
                <a:hlinkClick r:id="rId12"/>
              </a:rPr>
              <a:t>Product Development Partnerships</a:t>
            </a:r>
            <a:endParaRPr lang="en-US" sz="2800" dirty="0"/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E4C5FC1-8672-F91A-A59E-98A6188CC1E6}"/>
              </a:ext>
            </a:extLst>
          </p:cNvPr>
          <p:cNvSpPr txBox="1"/>
          <p:nvPr/>
        </p:nvSpPr>
        <p:spPr>
          <a:xfrm>
            <a:off x="3248467" y="5772090"/>
            <a:ext cx="5468869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hlinkClick r:id="rId13"/>
              </a:rPr>
              <a:t>Evidence to policy good practices</a:t>
            </a:r>
            <a:endParaRPr lang="en-US" sz="2800" dirty="0"/>
          </a:p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C3D866-4CC3-FB71-466D-277A95B312D0}"/>
              </a:ext>
            </a:extLst>
          </p:cNvPr>
          <p:cNvSpPr txBox="1"/>
          <p:nvPr/>
        </p:nvSpPr>
        <p:spPr>
          <a:xfrm>
            <a:off x="3246947" y="5248870"/>
            <a:ext cx="51054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hlinkClick r:id="rId14"/>
              </a:rPr>
              <a:t>Access to </a:t>
            </a:r>
            <a:r>
              <a:rPr lang="en-US" sz="2800" dirty="0" err="1">
                <a:hlinkClick r:id="rId14"/>
              </a:rPr>
              <a:t>paediatric</a:t>
            </a:r>
            <a:r>
              <a:rPr lang="en-US" sz="2800" dirty="0">
                <a:hlinkClick r:id="rId14"/>
              </a:rPr>
              <a:t> medicine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2662023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80814C-2C03-4104-F781-B32307892F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FC4877-CC77-C7F2-A84E-0AF3E90EF1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800" dirty="0"/>
              <a:t>Enabling the following:</a:t>
            </a:r>
          </a:p>
          <a:p>
            <a:pPr lvl="1"/>
            <a:r>
              <a:rPr lang="en-US" sz="2800" b="1" dirty="0"/>
              <a:t>Sustainable clinical research capacities</a:t>
            </a:r>
            <a:r>
              <a:rPr lang="en-US" sz="2800" dirty="0"/>
              <a:t> that enable ongoing clinical research that meets local and global needs: </a:t>
            </a:r>
          </a:p>
          <a:p>
            <a:pPr lvl="1"/>
            <a:r>
              <a:rPr lang="en-US" sz="2800" b="1" dirty="0"/>
              <a:t>Locally led</a:t>
            </a:r>
            <a:r>
              <a:rPr lang="en-US" sz="2800" dirty="0"/>
              <a:t> strengthening of national trials ecosystems: strive for efficiency – address bottlenecks</a:t>
            </a:r>
          </a:p>
          <a:p>
            <a:pPr lvl="1"/>
            <a:r>
              <a:rPr lang="en-US" sz="2800" b="1" dirty="0"/>
              <a:t>Effective prioritization</a:t>
            </a:r>
            <a:r>
              <a:rPr lang="en-US" sz="2800" dirty="0"/>
              <a:t> for use of these capacities</a:t>
            </a:r>
          </a:p>
          <a:p>
            <a:pPr lvl="1"/>
            <a:r>
              <a:rPr lang="en-US" sz="2800" dirty="0"/>
              <a:t>Addressing </a:t>
            </a:r>
            <a:r>
              <a:rPr lang="en-US" sz="2800" b="1" dirty="0"/>
              <a:t>under-represented populations</a:t>
            </a:r>
          </a:p>
          <a:p>
            <a:pPr lvl="1"/>
            <a:r>
              <a:rPr lang="en-US" sz="2800" b="1" dirty="0"/>
              <a:t>Risk proportionate </a:t>
            </a:r>
            <a:r>
              <a:rPr lang="en-US" sz="2800" dirty="0"/>
              <a:t>approaches to well-designed and well-implemented trials</a:t>
            </a:r>
            <a:r>
              <a:rPr lang="en-US" sz="2800" b="1" dirty="0"/>
              <a:t>. </a:t>
            </a:r>
          </a:p>
          <a:p>
            <a:endParaRPr lang="en-US" sz="2000" dirty="0"/>
          </a:p>
          <a:p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B97172-6AC3-F602-50F4-76BEF1C754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D290D2-DE80-8ED8-93BC-BB8BEDAFA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6597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50229A-3A5A-573C-6790-6EA3EE42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In 2022 all Member States adopted a resolution calling for strengthening of clinical trials to provide high quality eviden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738652-ABA6-8610-FA24-8CFB76E771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b="1">
                <a:solidFill>
                  <a:srgbClr val="1E0A3C"/>
                </a:solidFill>
                <a:latin typeface="Neue Plak"/>
              </a:rPr>
              <a:t>Nepal National Summit of Health and Population Scientists, 10 April 2024</a:t>
            </a:r>
            <a:endParaRPr lang="en-US">
              <a:solidFill>
                <a:srgbClr val="39364F"/>
              </a:solidFill>
              <a:latin typeface="Neue Plak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2BE99F-69E4-4116-7A71-FF99447F3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18158BA-D4ED-FAA9-50D1-3D043DC5EB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1787" y="1800225"/>
            <a:ext cx="6448425" cy="3257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7119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D4920-1CC1-D8F7-4EAF-12571140C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ing Acknowled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56930-3061-FC76-5806-D9882B3992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20</a:t>
            </a:fld>
            <a:endParaRPr lang="en-US"/>
          </a:p>
        </p:txBody>
      </p:sp>
      <p:pic>
        <p:nvPicPr>
          <p:cNvPr id="6" name="Picture 5" descr="A black background with red and blue text&#10;&#10;Description automatically generated">
            <a:extLst>
              <a:ext uri="{FF2B5EF4-FFF2-40B4-BE49-F238E27FC236}">
                <a16:creationId xmlns:a16="http://schemas.microsoft.com/office/drawing/2014/main" id="{737D83C7-155B-2B33-5063-6AA17751C9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7299" y="2539236"/>
            <a:ext cx="3891725" cy="1504800"/>
          </a:xfrm>
          <a:prstGeom prst="rect">
            <a:avLst/>
          </a:prstGeom>
        </p:spPr>
      </p:pic>
      <p:pic>
        <p:nvPicPr>
          <p:cNvPr id="8" name="Picture 7" descr="A red and black logo&#10;&#10;Description automatically generated">
            <a:extLst>
              <a:ext uri="{FF2B5EF4-FFF2-40B4-BE49-F238E27FC236}">
                <a16:creationId xmlns:a16="http://schemas.microsoft.com/office/drawing/2014/main" id="{457A0E7B-C230-227F-06D5-C422FE1E76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540" y="2539236"/>
            <a:ext cx="1559191" cy="150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1655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078A08-1FF2-49D4-AA94-8E09286EDD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6910" y="84667"/>
            <a:ext cx="10515600" cy="1325563"/>
          </a:xfrm>
        </p:spPr>
        <p:txBody>
          <a:bodyPr>
            <a:normAutofit/>
          </a:bodyPr>
          <a:lstStyle/>
          <a:p>
            <a:r>
              <a:rPr lang="en-US" sz="3200" dirty="0"/>
              <a:t>Research Processes as a Cycle rather than a Linear Pathway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B60D732-2587-4E6A-A289-92B58A6A826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904188" y="1065229"/>
          <a:ext cx="10605940" cy="51682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89FEA4A-1C7F-CAEF-BD61-1D16A78D0A38}"/>
              </a:ext>
            </a:extLst>
          </p:cNvPr>
          <p:cNvSpPr txBox="1"/>
          <p:nvPr/>
        </p:nvSpPr>
        <p:spPr>
          <a:xfrm>
            <a:off x="270588" y="1508411"/>
            <a:ext cx="32283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mportant to consider clinical trials as part of broader health research ecosystem…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9B62C50-40DB-49C7-80D4-A1BCF78C7B2E}"/>
              </a:ext>
            </a:extLst>
          </p:cNvPr>
          <p:cNvSpPr txBox="1"/>
          <p:nvPr/>
        </p:nvSpPr>
        <p:spPr>
          <a:xfrm>
            <a:off x="270588" y="2972448"/>
            <a:ext cx="32283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… And to consider how best to link research capacity strengthening to health systems strengthening</a:t>
            </a:r>
          </a:p>
        </p:txBody>
      </p:sp>
    </p:spTree>
    <p:extLst>
      <p:ext uri="{BB962C8B-B14F-4D97-AF65-F5344CB8AC3E}">
        <p14:creationId xmlns:p14="http://schemas.microsoft.com/office/powerpoint/2010/main" val="19794863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2E984-6B8E-4B09-A49C-3B21D3B57A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</a:t>
            </a:r>
            <a:r>
              <a:rPr lang="en-US">
                <a:ea typeface="Calibri"/>
                <a:cs typeface="Calibri"/>
              </a:rPr>
              <a:t>&amp;</a:t>
            </a:r>
            <a:r>
              <a:rPr lang="en-US"/>
              <a:t>D ecosystem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BA900B-389B-4F08-9881-6CC87FC14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4</a:t>
            </a:fld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66F5406-C8AB-4084-BE37-60CD5C4AA1D1}"/>
              </a:ext>
            </a:extLst>
          </p:cNvPr>
          <p:cNvGrpSpPr/>
          <p:nvPr/>
        </p:nvGrpSpPr>
        <p:grpSpPr>
          <a:xfrm>
            <a:off x="2146162" y="1098470"/>
            <a:ext cx="7899675" cy="5390986"/>
            <a:chOff x="1752599" y="389466"/>
            <a:chExt cx="8771021" cy="6075502"/>
          </a:xfrm>
        </p:grpSpPr>
        <p:graphicFrame>
          <p:nvGraphicFramePr>
            <p:cNvPr id="29" name="Diagram 28">
              <a:extLst>
                <a:ext uri="{FF2B5EF4-FFF2-40B4-BE49-F238E27FC236}">
                  <a16:creationId xmlns:a16="http://schemas.microsoft.com/office/drawing/2014/main" id="{11E40BFC-0AA2-41B4-8AD7-3F0E586B94F7}"/>
                </a:ext>
              </a:extLst>
            </p:cNvPr>
            <p:cNvGraphicFramePr/>
            <p:nvPr/>
          </p:nvGraphicFramePr>
          <p:xfrm>
            <a:off x="1752599" y="389466"/>
            <a:ext cx="8771021" cy="607550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pic>
          <p:nvPicPr>
            <p:cNvPr id="30" name="Graphic 29" descr="Doctor female with solid fill">
              <a:extLst>
                <a:ext uri="{FF2B5EF4-FFF2-40B4-BE49-F238E27FC236}">
                  <a16:creationId xmlns:a16="http://schemas.microsoft.com/office/drawing/2014/main" id="{77A1AB41-2155-41F0-8D36-72519F9A5E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021185" y="3776821"/>
              <a:ext cx="581892" cy="581892"/>
            </a:xfrm>
            <a:prstGeom prst="rect">
              <a:avLst/>
            </a:prstGeom>
          </p:spPr>
        </p:pic>
        <p:pic>
          <p:nvPicPr>
            <p:cNvPr id="31" name="Graphic 30" descr="Flask with solid fill">
              <a:extLst>
                <a:ext uri="{FF2B5EF4-FFF2-40B4-BE49-F238E27FC236}">
                  <a16:creationId xmlns:a16="http://schemas.microsoft.com/office/drawing/2014/main" id="{ABB26386-CF59-40FA-B7F2-6E7083BFEA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716731" y="1516938"/>
              <a:ext cx="557493" cy="557493"/>
            </a:xfrm>
            <a:prstGeom prst="rect">
              <a:avLst/>
            </a:prstGeom>
          </p:spPr>
        </p:pic>
        <p:pic>
          <p:nvPicPr>
            <p:cNvPr id="32" name="Graphic 31" descr="Research with solid fill">
              <a:extLst>
                <a:ext uri="{FF2B5EF4-FFF2-40B4-BE49-F238E27FC236}">
                  <a16:creationId xmlns:a16="http://schemas.microsoft.com/office/drawing/2014/main" id="{52F62B82-194B-4DCC-B1D0-4862F9AF9D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847163" y="4797180"/>
              <a:ext cx="581891" cy="581891"/>
            </a:xfrm>
            <a:prstGeom prst="rect">
              <a:avLst/>
            </a:prstGeom>
          </p:spPr>
        </p:pic>
        <p:pic>
          <p:nvPicPr>
            <p:cNvPr id="33" name="Graphic 32" descr="Books with solid fill">
              <a:extLst>
                <a:ext uri="{FF2B5EF4-FFF2-40B4-BE49-F238E27FC236}">
                  <a16:creationId xmlns:a16="http://schemas.microsoft.com/office/drawing/2014/main" id="{19A83793-19AA-497B-9265-2F06AA3DB3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021185" y="1739746"/>
              <a:ext cx="557493" cy="557493"/>
            </a:xfrm>
            <a:prstGeom prst="rect">
              <a:avLst/>
            </a:prstGeom>
          </p:spPr>
        </p:pic>
        <p:pic>
          <p:nvPicPr>
            <p:cNvPr id="34" name="Graphic 33" descr="Children with solid fill">
              <a:extLst>
                <a:ext uri="{FF2B5EF4-FFF2-40B4-BE49-F238E27FC236}">
                  <a16:creationId xmlns:a16="http://schemas.microsoft.com/office/drawing/2014/main" id="{711B7ADC-9F06-45D9-ACA5-8E5362E469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633604" y="3693694"/>
              <a:ext cx="748146" cy="748146"/>
            </a:xfrm>
            <a:prstGeom prst="rect">
              <a:avLst/>
            </a:prstGeom>
          </p:spPr>
        </p:pic>
        <p:pic>
          <p:nvPicPr>
            <p:cNvPr id="35" name="Graphic 34" descr="Medicine with solid fill">
              <a:extLst>
                <a:ext uri="{FF2B5EF4-FFF2-40B4-BE49-F238E27FC236}">
                  <a16:creationId xmlns:a16="http://schemas.microsoft.com/office/drawing/2014/main" id="{E6606271-97E7-4893-8E3E-4B68DD6B86B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5820838" y="455966"/>
              <a:ext cx="615142" cy="615142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654FBB0-49E5-2973-D057-226A5B483462}"/>
              </a:ext>
            </a:extLst>
          </p:cNvPr>
          <p:cNvSpPr txBox="1"/>
          <p:nvPr/>
        </p:nvSpPr>
        <p:spPr>
          <a:xfrm>
            <a:off x="270588" y="1508411"/>
            <a:ext cx="32283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mportant to consider clinical trials as part of broader health research ecosystem…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2D7E2E1-CE90-1B90-A00A-5C81B48E2C85}"/>
              </a:ext>
            </a:extLst>
          </p:cNvPr>
          <p:cNvSpPr txBox="1"/>
          <p:nvPr/>
        </p:nvSpPr>
        <p:spPr>
          <a:xfrm>
            <a:off x="270588" y="2972448"/>
            <a:ext cx="32283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… And to consider how best to link research capacity strengthening to health systems strengthening</a:t>
            </a:r>
          </a:p>
        </p:txBody>
      </p:sp>
    </p:spTree>
    <p:extLst>
      <p:ext uri="{BB962C8B-B14F-4D97-AF65-F5344CB8AC3E}">
        <p14:creationId xmlns:p14="http://schemas.microsoft.com/office/powerpoint/2010/main" val="1634158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D81500-61FF-438F-8E2F-F6275981CC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Mapping of clinical trials by disease area and reg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51D8BC-2489-542B-00F9-FB582112BD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739" y="2508550"/>
            <a:ext cx="3854654" cy="1535485"/>
          </a:xfrm>
        </p:spPr>
        <p:txBody>
          <a:bodyPr>
            <a:normAutofit/>
          </a:bodyPr>
          <a:lstStyle/>
          <a:p>
            <a:r>
              <a:rPr lang="en-US" dirty="0"/>
              <a:t>Clinical trials from 2018-2022 were mapped to WHO regions as well as the disease areas neoplasms, cardiovascular diseases, and infections</a:t>
            </a:r>
          </a:p>
          <a:p>
            <a:r>
              <a:rPr lang="en-US" dirty="0"/>
              <a:t>Disease areas were defined using Medical Subject Headings ( https://</a:t>
            </a:r>
            <a:r>
              <a:rPr lang="en-US" dirty="0" err="1"/>
              <a:t>www.ncbi.nlm.nih.gov</a:t>
            </a:r>
            <a:r>
              <a:rPr lang="en-US" dirty="0"/>
              <a:t>/mesh/)</a:t>
            </a:r>
            <a:endParaRPr lang="en-US" baseline="30000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507AAA-E899-424A-9A17-269B680CF7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 descr="A graph of diseased diseases&#10;&#10;Description automatically generated">
            <a:extLst>
              <a:ext uri="{FF2B5EF4-FFF2-40B4-BE49-F238E27FC236}">
                <a16:creationId xmlns:a16="http://schemas.microsoft.com/office/drawing/2014/main" id="{E25C17EE-C75E-4CD1-9624-392A9A9642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3611" y="1526797"/>
            <a:ext cx="6661870" cy="503092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1A52A33-F1A6-E28C-5D3A-5C91BEB32C7B}"/>
              </a:ext>
            </a:extLst>
          </p:cNvPr>
          <p:cNvSpPr/>
          <p:nvPr/>
        </p:nvSpPr>
        <p:spPr>
          <a:xfrm>
            <a:off x="9302276" y="1803400"/>
            <a:ext cx="644157" cy="33657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876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A0354BB-C995-BAC7-94C5-BE3D7D57C1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E2F491-B25D-AE40-865C-29C02FA36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F7C9B5-13E0-438A-86F2-17D83F33C37C}" type="slidenum">
              <a:rPr lang="en-US" smtClean="0"/>
              <a:t>6</a:t>
            </a:fld>
            <a:endParaRPr lang="en-US"/>
          </a:p>
        </p:txBody>
      </p:sp>
      <p:pic>
        <p:nvPicPr>
          <p:cNvPr id="1026" name="Chart 1">
            <a:extLst>
              <a:ext uri="{FF2B5EF4-FFF2-40B4-BE49-F238E27FC236}">
                <a16:creationId xmlns:a16="http://schemas.microsoft.com/office/drawing/2014/main" id="{CB247F79-3AFA-635F-A2F3-9772590626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4210" y="256690"/>
            <a:ext cx="9686925" cy="593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8A02578-492A-DC3D-F2D4-90F4DD0B06FC}"/>
              </a:ext>
            </a:extLst>
          </p:cNvPr>
          <p:cNvSpPr txBox="1"/>
          <p:nvPr/>
        </p:nvSpPr>
        <p:spPr>
          <a:xfrm>
            <a:off x="3545633" y="256690"/>
            <a:ext cx="570100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Nepal trial registrations in WHO ICTR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D5DB05-AEFC-BD82-684E-B862BCAC2DD7}"/>
              </a:ext>
            </a:extLst>
          </p:cNvPr>
          <p:cNvSpPr txBox="1"/>
          <p:nvPr/>
        </p:nvSpPr>
        <p:spPr>
          <a:xfrm>
            <a:off x="7822358" y="256690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ICTRP search portal (who.int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3927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AB9DF8-1AC0-4788-8CB7-B48B4DA3FA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0"/>
            <a:ext cx="11277600" cy="1004888"/>
          </a:xfrm>
        </p:spPr>
        <p:txBody>
          <a:bodyPr/>
          <a:lstStyle/>
          <a:p>
            <a:r>
              <a:rPr lang="en-US" sz="3200" b="1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Key problem statements with the current clinical trial ecosystem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DA9110-2271-4B84-A47A-4A5C78CD7A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391" y="656502"/>
            <a:ext cx="11277600" cy="6061557"/>
          </a:xfrm>
          <a:solidFill>
            <a:schemeClr val="bg1"/>
          </a:solidFill>
        </p:spPr>
        <p:txBody>
          <a:bodyPr vert="horz" lIns="0" tIns="0" rIns="0" bIns="0" rtlCol="0" anchor="t">
            <a:normAutofit fontScale="92500" lnSpcReduction="10000"/>
          </a:bodyPr>
          <a:lstStyle/>
          <a:p>
            <a:pPr marL="342900" indent="-342900">
              <a:buFont typeface="Symbol" panose="05050102010706020507" pitchFamily="18" charset="2"/>
              <a:buChar char="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</a:rPr>
              <a:t>Regulatory systems involving multiple approval bodies may be overly complex and </a:t>
            </a:r>
            <a:r>
              <a:rPr lang="en-US" sz="2400" b="1" dirty="0">
                <a:latin typeface="Calibri" panose="020F0502020204030204" pitchFamily="34" charset="0"/>
                <a:ea typeface="Calibri" panose="020F0502020204030204" pitchFamily="34" charset="0"/>
              </a:rPr>
              <a:t>not always proportionate to risk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</a:rPr>
              <a:t>; as a result of this complexity, good trials are too expensive, take too long, … costing many lives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800100" lvl="1" indent="-342900">
              <a:buFont typeface="Symbol" panose="05050102010706020507" pitchFamily="18" charset="2"/>
              <a:buChar char=""/>
            </a:pPr>
            <a:r>
              <a:rPr lang="en-US" sz="2400" dirty="0">
                <a:latin typeface="Calibri" panose="020F0502020204030204" pitchFamily="34" charset="0"/>
                <a:ea typeface="Times New Roman" panose="02020603050405020304" pitchFamily="18" charset="0"/>
              </a:rPr>
              <a:t>How can we advance </a:t>
            </a:r>
            <a:r>
              <a:rPr lang="en-US" sz="2400" b="1" dirty="0">
                <a:latin typeface="Calibri" panose="020F0502020204030204" pitchFamily="34" charset="0"/>
                <a:ea typeface="Times New Roman" panose="02020603050405020304" pitchFamily="18" charset="0"/>
              </a:rPr>
              <a:t>the benefits of compelling well-designed trials </a:t>
            </a:r>
            <a:r>
              <a:rPr lang="en-US" sz="2400" dirty="0">
                <a:latin typeface="Calibri" panose="020F0502020204030204" pitchFamily="34" charset="0"/>
                <a:ea typeface="Times New Roman" panose="02020603050405020304" pitchFamily="18" charset="0"/>
              </a:rPr>
              <a:t>while maintaining appropriate safeguards? How to accelerate </a:t>
            </a:r>
            <a:r>
              <a:rPr lang="en-US" sz="2400" b="1" dirty="0">
                <a:latin typeface="Calibri" panose="020F0502020204030204" pitchFamily="34" charset="0"/>
                <a:ea typeface="Times New Roman" panose="02020603050405020304" pitchFamily="18" charset="0"/>
              </a:rPr>
              <a:t>benefits of adaptive, platform trials?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en-US" sz="24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US" sz="2400" b="1" dirty="0">
                <a:latin typeface="Calibri" panose="020F0502020204030204" pitchFamily="34" charset="0"/>
                <a:ea typeface="Times New Roman" panose="02020603050405020304" pitchFamily="18" charset="0"/>
              </a:rPr>
              <a:t>Many trials do not contribute to high quality evidence</a:t>
            </a:r>
            <a:r>
              <a:rPr lang="en-US" sz="2400" dirty="0">
                <a:latin typeface="Calibri" panose="020F0502020204030204" pitchFamily="34" charset="0"/>
                <a:ea typeface="Times New Roman" panose="02020603050405020304" pitchFamily="18" charset="0"/>
              </a:rPr>
              <a:t>: </a:t>
            </a:r>
            <a:r>
              <a:rPr lang="en-US" sz="2400" i="1" dirty="0">
                <a:latin typeface="Calibri" panose="020F0502020204030204" pitchFamily="34" charset="0"/>
                <a:ea typeface="Times New Roman" panose="02020603050405020304" pitchFamily="18" charset="0"/>
              </a:rPr>
              <a:t>NB most uninformative trials are likely in high income countries, because most trials are in high income countries</a:t>
            </a: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800100" lvl="1" indent="-342900">
              <a:buFont typeface="Symbol" panose="05050102010706020507" pitchFamily="18" charset="2"/>
              <a:buChar char="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</a:rPr>
              <a:t>Most health policy/guidelines recommendations are not based on high certainty evidence (Intern Med J </a:t>
            </a:r>
            <a:r>
              <a:rPr lang="nl-NL" sz="2400" dirty="0">
                <a:latin typeface="Calibri" panose="020F0502020204030204" pitchFamily="34" charset="0"/>
                <a:ea typeface="Calibri" panose="020F0502020204030204" pitchFamily="34" charset="0"/>
              </a:rPr>
              <a:t>2020 Jan;50(1):30-37) and therefore </a:t>
            </a:r>
            <a:r>
              <a:rPr lang="nl-NL" sz="2400" b="1" dirty="0">
                <a:latin typeface="Calibri" panose="020F0502020204030204" pitchFamily="34" charset="0"/>
                <a:ea typeface="Calibri" panose="020F0502020204030204" pitchFamily="34" charset="0"/>
              </a:rPr>
              <a:t>most decision-making is not based on high </a:t>
            </a:r>
            <a:r>
              <a:rPr lang="nl-NL" sz="2400" b="1" dirty="0" err="1">
                <a:latin typeface="Calibri" panose="020F0502020204030204" pitchFamily="34" charset="0"/>
                <a:ea typeface="Calibri" panose="020F0502020204030204" pitchFamily="34" charset="0"/>
              </a:rPr>
              <a:t>certainty</a:t>
            </a:r>
            <a:r>
              <a:rPr lang="nl-NL" sz="2400" b="1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nl-NL" sz="2400" b="1" dirty="0" err="1">
                <a:latin typeface="Calibri" panose="020F0502020204030204" pitchFamily="34" charset="0"/>
                <a:ea typeface="Calibri" panose="020F0502020204030204" pitchFamily="34" charset="0"/>
              </a:rPr>
              <a:t>evidence</a:t>
            </a:r>
            <a:endParaRPr lang="en-US" sz="2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800100" lvl="1" indent="-342900">
              <a:buFont typeface="Symbol" panose="05050102010706020507" pitchFamily="18" charset="2"/>
              <a:buChar char=""/>
            </a:pP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</a:rPr>
              <a:t>There are </a:t>
            </a:r>
            <a:r>
              <a:rPr lang="en-US" sz="2400" b="1" dirty="0">
                <a:latin typeface="Calibri" panose="020F0502020204030204" pitchFamily="34" charset="0"/>
                <a:ea typeface="Calibri" panose="020F0502020204030204" pitchFamily="34" charset="0"/>
              </a:rPr>
              <a:t>insufficient “levers” to prevent badly designed trials 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</a:rPr>
              <a:t>that will not answer the scientific question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en-US" sz="2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US" sz="2400" b="1" dirty="0">
                <a:latin typeface="Calibri" panose="020F0502020204030204" pitchFamily="34" charset="0"/>
                <a:ea typeface="Calibri" panose="020F0502020204030204" pitchFamily="34" charset="0"/>
              </a:rPr>
              <a:t>Major gaps in clinical infrastructure and capabilities exist in many countries with high disease burdens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</a:rPr>
              <a:t>; existence of capacities in high income countries does not guarantee efficient conduct of informative trials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en-US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>
              <a:lnSpc>
                <a:spcPct val="100000"/>
              </a:lnSpc>
            </a:pPr>
            <a:endParaRPr lang="en-US" sz="2400" dirty="0">
              <a:cs typeface="Times New Roman" panose="02020603050405020304" pitchFamily="18" charset="0"/>
            </a:endParaRPr>
          </a:p>
          <a:p>
            <a:endParaRPr lang="en-US" sz="2400" dirty="0">
              <a:cs typeface="Times New Roman" panose="02020603050405020304" pitchFamily="18" charset="0"/>
            </a:endParaRPr>
          </a:p>
          <a:p>
            <a:endParaRPr lang="en-US" dirty="0">
              <a:cs typeface="Calibri" panose="020F0502020204030204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0C9DE-8873-4AE2-BC0A-8EE59968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972BBA-B2B8-0F04-62A7-C2DA3D5943FF}"/>
              </a:ext>
            </a:extLst>
          </p:cNvPr>
          <p:cNvSpPr txBox="1"/>
          <p:nvPr/>
        </p:nvSpPr>
        <p:spPr>
          <a:xfrm>
            <a:off x="2846895" y="609914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2090C5-4000-F934-E9A8-6913036A9077}"/>
              </a:ext>
            </a:extLst>
          </p:cNvPr>
          <p:cNvSpPr txBox="1"/>
          <p:nvPr/>
        </p:nvSpPr>
        <p:spPr>
          <a:xfrm>
            <a:off x="4864231" y="5382705"/>
            <a:ext cx="1404594" cy="6992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5076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50C9DE-8873-4AE2-BC0A-8EE599684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6E91C076-A13D-CA5A-3E3D-9C49CF4802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49938899"/>
              </p:ext>
            </p:extLst>
          </p:nvPr>
        </p:nvGraphicFramePr>
        <p:xfrm>
          <a:off x="457200" y="477592"/>
          <a:ext cx="11277600" cy="54235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" name="Picture 2" descr="A signpost with different colored signs&#10;&#10;Description automatically generated">
            <a:extLst>
              <a:ext uri="{FF2B5EF4-FFF2-40B4-BE49-F238E27FC236}">
                <a16:creationId xmlns:a16="http://schemas.microsoft.com/office/drawing/2014/main" id="{465DD270-9BCC-DE18-FD52-D107674826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91619"/>
            <a:ext cx="2642616" cy="1152144"/>
          </a:xfrm>
          <a:prstGeom prst="rect">
            <a:avLst/>
          </a:prstGeom>
        </p:spPr>
      </p:pic>
      <p:pic>
        <p:nvPicPr>
          <p:cNvPr id="9" name="Picture 8" descr="A person wearing a mask and sitting in front of a computer screen&#10;&#10;Description automatically generated">
            <a:extLst>
              <a:ext uri="{FF2B5EF4-FFF2-40B4-BE49-F238E27FC236}">
                <a16:creationId xmlns:a16="http://schemas.microsoft.com/office/drawing/2014/main" id="{E8DF1026-D6A8-4D2D-F220-9846DF2CA57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9105" y="615166"/>
            <a:ext cx="1209357" cy="1222248"/>
          </a:xfrm>
          <a:prstGeom prst="rect">
            <a:avLst/>
          </a:prstGeom>
        </p:spPr>
      </p:pic>
      <p:pic>
        <p:nvPicPr>
          <p:cNvPr id="11" name="Picture 10" descr="A map with colorful pins&#10;&#10;Description automatically generated">
            <a:extLst>
              <a:ext uri="{FF2B5EF4-FFF2-40B4-BE49-F238E27FC236}">
                <a16:creationId xmlns:a16="http://schemas.microsoft.com/office/drawing/2014/main" id="{BA5DE64F-73E3-4586-F513-DD4A476A007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1971" y="688157"/>
            <a:ext cx="1757946" cy="1149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5430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A86B73A-B9CA-2EA5-765B-B9301C02A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B729D4-8B55-F80C-D6EF-262DCF98AF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2BF4688-E11A-B2E5-1EF9-319A79274D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0864" y="268320"/>
            <a:ext cx="4940416" cy="3280746"/>
          </a:xfrm>
          <a:prstGeom prst="rect">
            <a:avLst/>
          </a:prstGeom>
        </p:spPr>
      </p:pic>
      <p:sp>
        <p:nvSpPr>
          <p:cNvPr id="7" name="AutoShape 2">
            <a:extLst>
              <a:ext uri="{FF2B5EF4-FFF2-40B4-BE49-F238E27FC236}">
                <a16:creationId xmlns:a16="http://schemas.microsoft.com/office/drawing/2014/main" id="{BBB2FDA4-93BF-F44A-C5A4-260E18358D3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AutoShape 4">
            <a:extLst>
              <a:ext uri="{FF2B5EF4-FFF2-40B4-BE49-F238E27FC236}">
                <a16:creationId xmlns:a16="http://schemas.microsoft.com/office/drawing/2014/main" id="{721BFADB-7076-8E91-0BBB-721226AF568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6">
            <a:extLst>
              <a:ext uri="{FF2B5EF4-FFF2-40B4-BE49-F238E27FC236}">
                <a16:creationId xmlns:a16="http://schemas.microsoft.com/office/drawing/2014/main" id="{55EBF179-54DB-3B32-1681-520AAA05A87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A50B7F1-7CD3-D718-0785-307D505346E5}"/>
              </a:ext>
            </a:extLst>
          </p:cNvPr>
          <p:cNvSpPr txBox="1"/>
          <p:nvPr/>
        </p:nvSpPr>
        <p:spPr>
          <a:xfrm>
            <a:off x="970384" y="281784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12" name="Picture 11" descr="A group of people sitting at tables in a room with laptops&#10;&#10;Description automatically generated">
            <a:extLst>
              <a:ext uri="{FF2B5EF4-FFF2-40B4-BE49-F238E27FC236}">
                <a16:creationId xmlns:a16="http://schemas.microsoft.com/office/drawing/2014/main" id="{BA19E5E2-B3F9-655F-BD55-437E5D5317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7" y="268319"/>
            <a:ext cx="5113176" cy="3834882"/>
          </a:xfrm>
          <a:prstGeom prst="rect">
            <a:avLst/>
          </a:prstGeom>
        </p:spPr>
      </p:pic>
      <p:pic>
        <p:nvPicPr>
          <p:cNvPr id="14" name="Picture 13" descr="A group of people standing on stairs&#10;&#10;Description automatically generated">
            <a:extLst>
              <a:ext uri="{FF2B5EF4-FFF2-40B4-BE49-F238E27FC236}">
                <a16:creationId xmlns:a16="http://schemas.microsoft.com/office/drawing/2014/main" id="{0F4B6586-0879-29C0-2489-172C7B614F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7" y="3505023"/>
            <a:ext cx="5024996" cy="335297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D8B3F75-6C36-A3B2-5D35-33C52BABB4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75899" y="3505023"/>
            <a:ext cx="4965381" cy="3385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9459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ZIUcS5D6ROyzvYeLeBO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NDcJl38oBU6nEpD4j2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CS3nc6jl4GeEG3yXRB0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YL_8R7Idci.JmtZKev8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W7KIR59Af6mjw.gMzb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BXoLGZjgjE86g0omk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kbWjcTx2THxrt9gEmgD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Mz5ZUJCSkBkaoj3Dhs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MBhSpwAstM_PBziDLs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DHUtmZIaKdH5COGEX.I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KI9rAuWV1j5ItI9hn7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07sciFo.OMsWrXY6iJB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EWRHzy9IZZLx7mr34f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1MxwVzS9q3UIlJfxTg3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X26pAJXVGBpAvNPwcx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KpEZdgPsQztJrrf8Bq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nD41pra83guMiXqTXj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0hp_6ELt8VS77ZIt.lA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N7Zcks7fjriIm6LjunZ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IHSYzSedWsZP5T5ijWO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D2_r0Nziti.n.14mpfj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3N8cMCyQhuHg8xpLdR0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6biKVI6FhTumD4cdLgC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auDbZi0TnPp4CPnB4g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ekmwJVREl_0NTguj2r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.P2Ru0GFPloDpgNT_lD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51Po_loceH0Y1qC_aop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B6_NchoLTbvdp_TySe7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sGD.ZRFjClb1l9T9Fvv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PAE7IBKSCq2ZLt0zPEx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bgm9x_GZzqxCKkZFIi3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PTPJDlmpGXH2rpMg9S0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HJo0TtkT83BccMB6tQD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di_xeADeWrCSPhrxtsq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wUm_3FLOOkBnZSXn7Mk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5LezBxYkVxks2redvuM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Bny5NleIZ23EwBh.Jn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2sSvGIRpHbMTuqRbr0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TnhxdtOBxaKRMT5B3yO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CYtiPr7Qk07SSfxUVYZ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GWhL0ymYgMQThz15xtx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WHO_palette">
      <a:dk1>
        <a:srgbClr val="000000"/>
      </a:dk1>
      <a:lt1>
        <a:srgbClr val="FFFFFF"/>
      </a:lt1>
      <a:dk2>
        <a:srgbClr val="00205C"/>
      </a:dk2>
      <a:lt2>
        <a:srgbClr val="E7E6E6"/>
      </a:lt2>
      <a:accent1>
        <a:srgbClr val="0099DD"/>
      </a:accent1>
      <a:accent2>
        <a:srgbClr val="F16829"/>
      </a:accent2>
      <a:accent3>
        <a:srgbClr val="F3A81C"/>
      </a:accent3>
      <a:accent4>
        <a:srgbClr val="A6228C"/>
      </a:accent4>
      <a:accent5>
        <a:srgbClr val="5B2C86"/>
      </a:accent5>
      <a:accent6>
        <a:srgbClr val="80BC5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HO_presentation_template_R1_V06" id="{1BDC1073-AB81-8147-89C3-A79EC2A6301F}" vid="{9D092595-E6B8-C345-B470-402B85CA4A40}"/>
    </a:ext>
  </a:extLst>
</a:theme>
</file>

<file path=ppt/theme/theme2.xml><?xml version="1.0" encoding="utf-8"?>
<a:theme xmlns:a="http://schemas.openxmlformats.org/drawingml/2006/main" name="1_WHO Regional Office for Africa Grid A4">
  <a:themeElements>
    <a:clrScheme name="Custom 36">
      <a:dk1>
        <a:srgbClr val="575757"/>
      </a:dk1>
      <a:lt1>
        <a:sysClr val="window" lastClr="FFFFFF"/>
      </a:lt1>
      <a:dk2>
        <a:srgbClr val="1E7FB8"/>
      </a:dk2>
      <a:lt2>
        <a:srgbClr val="F2F2F2"/>
      </a:lt2>
      <a:accent1>
        <a:srgbClr val="000066"/>
      </a:accent1>
      <a:accent2>
        <a:srgbClr val="4A66AC"/>
      </a:accent2>
      <a:accent3>
        <a:srgbClr val="FFC000"/>
      </a:accent3>
      <a:accent4>
        <a:srgbClr val="629DD1"/>
      </a:accent4>
      <a:accent5>
        <a:srgbClr val="969696"/>
      </a:accent5>
      <a:accent6>
        <a:srgbClr val="5AA2AE"/>
      </a:accent6>
      <a:hlink>
        <a:srgbClr val="D86422"/>
      </a:hlink>
      <a:folHlink>
        <a:srgbClr val="D86422"/>
      </a:folHlink>
    </a:clrScheme>
    <a:fontScheme name="Custom 10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none" lIns="0" tIns="0" rIns="0" bIns="0" rtlCol="0" anchor="ctr" anchorCtr="0">
        <a:noAutofit/>
      </a:bodyPr>
      <a:lstStyle>
        <a:defPPr algn="ctr">
          <a:defRPr sz="1200" dirty="0" err="1" smtClean="0"/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73338DDA4138D47B052AAEE3938728D" ma:contentTypeVersion="11" ma:contentTypeDescription="Create a new document." ma:contentTypeScope="" ma:versionID="9b272d38b3d6d87e448ed7cf4e75ec91">
  <xsd:schema xmlns:xsd="http://www.w3.org/2001/XMLSchema" xmlns:xs="http://www.w3.org/2001/XMLSchema" xmlns:p="http://schemas.microsoft.com/office/2006/metadata/properties" xmlns:ns2="742735b2-61cd-42e0-bf96-845fb5c452b5" xmlns:ns3="2341684e-98f5-49f6-a733-ea785f2da905" targetNamespace="http://schemas.microsoft.com/office/2006/metadata/properties" ma:root="true" ma:fieldsID="745ef151b62fe967e4324ddead5ec12b" ns2:_="" ns3:_="">
    <xsd:import namespace="742735b2-61cd-42e0-bf96-845fb5c452b5"/>
    <xsd:import namespace="2341684e-98f5-49f6-a733-ea785f2da90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2735b2-61cd-42e0-bf96-845fb5c452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aa4eac88-8ae6-4a96-90c7-97bc93c844e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41684e-98f5-49f6-a733-ea785f2da90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c00c7fc6-66bf-4655-9fa0-586ecbf9cb98}" ma:internalName="TaxCatchAll" ma:showField="CatchAllData" ma:web="2341684e-98f5-49f6-a733-ea785f2da90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341684e-98f5-49f6-a733-ea785f2da905" xsi:nil="true"/>
    <lcf76f155ced4ddcb4097134ff3c332f xmlns="742735b2-61cd-42e0-bf96-845fb5c452b5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4FA65B6-EFA1-44BD-A9EB-7E62BAA11A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42735b2-61cd-42e0-bf96-845fb5c452b5"/>
    <ds:schemaRef ds:uri="2341684e-98f5-49f6-a733-ea785f2da9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D4C15BC-E4D9-4164-B0BA-D2F8F4D83062}">
  <ds:schemaRefs>
    <ds:schemaRef ds:uri="http://purl.org/dc/dcmitype/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purl.org/dc/terms/"/>
    <ds:schemaRef ds:uri="http://purl.org/dc/elements/1.1/"/>
    <ds:schemaRef ds:uri="742735b2-61cd-42e0-bf96-845fb5c452b5"/>
    <ds:schemaRef ds:uri="http://schemas.microsoft.com/office/infopath/2007/PartnerControls"/>
    <ds:schemaRef ds:uri="2341684e-98f5-49f6-a733-ea785f2da905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3D03116C-5212-4861-92C2-F4310A98155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237</TotalTime>
  <Words>1365</Words>
  <Application>Microsoft Office PowerPoint</Application>
  <PresentationFormat>Widescreen</PresentationFormat>
  <Paragraphs>206</Paragraphs>
  <Slides>2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9" baseType="lpstr">
      <vt:lpstr>Arial</vt:lpstr>
      <vt:lpstr>Calibri</vt:lpstr>
      <vt:lpstr>Calibri Light</vt:lpstr>
      <vt:lpstr>Neue Plak</vt:lpstr>
      <vt:lpstr>Symbol</vt:lpstr>
      <vt:lpstr>Trebuchet MS</vt:lpstr>
      <vt:lpstr>1_Office Theme</vt:lpstr>
      <vt:lpstr>1_WHO Regional Office for Africa Grid A4</vt:lpstr>
      <vt:lpstr>think-cell Slide</vt:lpstr>
      <vt:lpstr>How clinical research can advance health outcomes in Nepal: implications from the World Health Assembly resolution on clinical trials  Vasee Moorthy FRCP PhD  Senior Advisor Research for Health Department Science Division WHO, Geneva   </vt:lpstr>
      <vt:lpstr>In 2022 all Member States adopted a resolution calling for strengthening of clinical trials to provide high quality evidence</vt:lpstr>
      <vt:lpstr>Research Processes as a Cycle rather than a Linear Pathway</vt:lpstr>
      <vt:lpstr>R&amp;D ecosystem</vt:lpstr>
      <vt:lpstr>Mapping of clinical trials by disease area and region</vt:lpstr>
      <vt:lpstr>PowerPoint Presentation</vt:lpstr>
      <vt:lpstr>Key problem statements with the current clinical trial ecosystem</vt:lpstr>
      <vt:lpstr>PowerPoint Presentation</vt:lpstr>
      <vt:lpstr>PowerPoint Presentation</vt:lpstr>
      <vt:lpstr>PowerPoint Presentation</vt:lpstr>
      <vt:lpstr>Similar issues emerged from the regional consultations, leading to an agreed global vision</vt:lpstr>
      <vt:lpstr>Key areas of focus for capacity development going forwards according to inputs received during regional consultations</vt:lpstr>
      <vt:lpstr>PowerPoint Presentation</vt:lpstr>
      <vt:lpstr>Key themes: Vision emerging from the global forum</vt:lpstr>
      <vt:lpstr>Urgent reforms needed to enable key trials</vt:lpstr>
      <vt:lpstr>PowerPoint Presentation</vt:lpstr>
      <vt:lpstr>PowerPoint Presentation</vt:lpstr>
      <vt:lpstr>Other major activities in WHO Research for Health Department</vt:lpstr>
      <vt:lpstr>Conclusion</vt:lpstr>
      <vt:lpstr>Funding Acknowledge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 75.8 ‘Strengthening Clinical Trials to provide high-quality evidence and improve research quality and coordination’:   Adopted by WHA May 2022   Update on Secretariat actions - January 2023</dc:title>
  <dc:creator>KUGANANTHAM, Hamsadvani</dc:creator>
  <cp:lastModifiedBy>SATHIYAMOORTHY, Vaseeharan</cp:lastModifiedBy>
  <cp:revision>133</cp:revision>
  <dcterms:created xsi:type="dcterms:W3CDTF">2023-01-06T15:48:11Z</dcterms:created>
  <dcterms:modified xsi:type="dcterms:W3CDTF">2024-04-05T12:2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73338DDA4138D47B052AAEE3938728D</vt:lpwstr>
  </property>
  <property fmtid="{D5CDD505-2E9C-101B-9397-08002B2CF9AE}" pid="3" name="MediaServiceImageTags">
    <vt:lpwstr/>
  </property>
</Properties>
</file>